
<file path=[Content_Types].xml><?xml version="1.0" encoding="utf-8"?>
<Types xmlns="http://schemas.openxmlformats.org/package/2006/content-types">
  <Default Extension="jpeg" ContentType="image/jpeg"/>
  <Default Extension="vml" ContentType="application/vnd.openxmlformats-officedocument.vmlDrawing"/>
  <Default Extension="bin" ContentType="application/vnd.openxmlformats-officedocument.oleObject"/>
  <Default Extension="wdp" ContentType="image/vnd.ms-photo"/>
  <Default Extension="png" ContentType="image/png"/>
  <Default Extension="emf" ContentType="image/x-emf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Override1.xml" ContentType="application/vnd.openxmlformats-officedocument.themeOverride+xml"/>
  <Override PartName="/ppt/theme/themeOverride2.xml" ContentType="application/vnd.openxmlformats-officedocument.themeOverride+xml"/>
  <Override PartName="/ppt/theme/themeOverride3.xml" ContentType="application/vnd.openxmlformats-officedocument.themeOverride+xml"/>
  <Override PartName="/ppt/theme/themeOverride4.xml" ContentType="application/vnd.openxmlformats-officedocument.themeOverride+xml"/>
  <Override PartName="/ppt/theme/themeOverride5.xml" ContentType="application/vnd.openxmlformats-officedocument.themeOverride+xml"/>
  <Override PartName="/ppt/theme/themeOverride6.xml" ContentType="application/vnd.openxmlformats-officedocument.themeOverride+xml"/>
  <Override PartName="/ppt/theme/themeOverride7.xml" ContentType="application/vnd.openxmlformats-officedocument.themeOverride+xml"/>
  <Override PartName="/ppt/theme/themeOverride8.xml" ContentType="application/vnd.openxmlformats-officedocument.themeOverrid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4" Type="http://schemas.openxmlformats.org/package/2006/relationships/metadata/thumbnail" Target="docProps/thumbnail.jpeg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5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>
  <p:sldMasterIdLst>
    <p:sldMasterId id="2147483648" r:id="rId1"/>
  </p:sldMasterIdLst>
  <p:notesMasterIdLst>
    <p:notesMasterId r:id="rId17"/>
  </p:notesMasterIdLst>
  <p:sldIdLst>
    <p:sldId id="256" r:id="rId3"/>
    <p:sldId id="269" r:id="rId4"/>
    <p:sldId id="258" r:id="rId5"/>
    <p:sldId id="270" r:id="rId6"/>
    <p:sldId id="281" r:id="rId7"/>
    <p:sldId id="280" r:id="rId8"/>
    <p:sldId id="282" r:id="rId9"/>
    <p:sldId id="283" r:id="rId10"/>
    <p:sldId id="284" r:id="rId11"/>
    <p:sldId id="285" r:id="rId12"/>
    <p:sldId id="286" r:id="rId13"/>
    <p:sldId id="287" r:id="rId14"/>
    <p:sldId id="288" r:id="rId15"/>
    <p:sldId id="261" r:id="rId16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7E5"/>
    <a:srgbClr val="FFFF66"/>
    <a:srgbClr val="FFFF00"/>
    <a:srgbClr val="FFFFAF"/>
    <a:srgbClr val="F1C17B"/>
    <a:srgbClr val="F75F53"/>
    <a:srgbClr val="EF4747"/>
    <a:srgbClr val="F7DDB7"/>
    <a:srgbClr val="E46F66"/>
    <a:srgbClr val="DB413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6182" autoAdjust="0"/>
  </p:normalViewPr>
  <p:slideViewPr>
    <p:cSldViewPr snapToGrid="0">
      <p:cViewPr>
        <p:scale>
          <a:sx n="100" d="100"/>
          <a:sy n="100" d="100"/>
        </p:scale>
        <p:origin x="-1188" y="-540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7.xml"/><Relationship Id="rId8" Type="http://schemas.openxmlformats.org/officeDocument/2006/relationships/slide" Target="slides/slide6.xml"/><Relationship Id="rId7" Type="http://schemas.openxmlformats.org/officeDocument/2006/relationships/slide" Target="slides/slide5.xml"/><Relationship Id="rId6" Type="http://schemas.openxmlformats.org/officeDocument/2006/relationships/slide" Target="slides/slide4.xml"/><Relationship Id="rId5" Type="http://schemas.openxmlformats.org/officeDocument/2006/relationships/slide" Target="slides/slide3.xml"/><Relationship Id="rId4" Type="http://schemas.openxmlformats.org/officeDocument/2006/relationships/slide" Target="slides/slide2.xml"/><Relationship Id="rId3" Type="http://schemas.openxmlformats.org/officeDocument/2006/relationships/slide" Target="slides/slide1.xml"/><Relationship Id="rId20" Type="http://schemas.openxmlformats.org/officeDocument/2006/relationships/tableStyles" Target="tableStyles.xml"/><Relationship Id="rId2" Type="http://schemas.openxmlformats.org/officeDocument/2006/relationships/theme" Target="theme/theme1.xml"/><Relationship Id="rId19" Type="http://schemas.openxmlformats.org/officeDocument/2006/relationships/viewProps" Target="viewProps.xml"/><Relationship Id="rId18" Type="http://schemas.openxmlformats.org/officeDocument/2006/relationships/presProps" Target="presProps.xml"/><Relationship Id="rId17" Type="http://schemas.openxmlformats.org/officeDocument/2006/relationships/notesMaster" Target="notesMasters/notesMaster1.xml"/><Relationship Id="rId16" Type="http://schemas.openxmlformats.org/officeDocument/2006/relationships/slide" Target="slides/slide14.xml"/><Relationship Id="rId15" Type="http://schemas.openxmlformats.org/officeDocument/2006/relationships/slide" Target="slides/slide13.xml"/><Relationship Id="rId14" Type="http://schemas.openxmlformats.org/officeDocument/2006/relationships/slide" Target="slides/slide12.xml"/><Relationship Id="rId13" Type="http://schemas.openxmlformats.org/officeDocument/2006/relationships/slide" Target="slides/slide11.xml"/><Relationship Id="rId12" Type="http://schemas.openxmlformats.org/officeDocument/2006/relationships/slide" Target="slides/slide10.xml"/><Relationship Id="rId11" Type="http://schemas.openxmlformats.org/officeDocument/2006/relationships/slide" Target="slides/slide9.xml"/><Relationship Id="rId10" Type="http://schemas.openxmlformats.org/officeDocument/2006/relationships/slide" Target="slides/slide8.xml"/><Relationship Id="rId1" Type="http://schemas.openxmlformats.org/officeDocument/2006/relationships/slideMaster" Target="slideMasters/slide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5" Type="http://schemas.openxmlformats.org/officeDocument/2006/relationships/image" Target="../media/image3.png"/><Relationship Id="rId4" Type="http://schemas.openxmlformats.org/officeDocument/2006/relationships/image" Target="../media/image2.png"/><Relationship Id="rId3" Type="http://schemas.microsoft.com/office/2007/relationships/hdphoto" Target="../media/hdphoto1.wdp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 showMasterSp="0" userDrawn="1">
  <p:cSld name="标题幻灯片">
    <p:bg>
      <p:bgPr>
        <a:gradFill>
          <a:gsLst>
            <a:gs pos="65000">
              <a:schemeClr val="accent1"/>
            </a:gs>
            <a:gs pos="0">
              <a:schemeClr val="accent6"/>
            </a:gs>
          </a:gsLst>
          <a:lin ang="162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 descr="图片包含 自然&#10;&#10;已生成高可信度的说明"/>
          <p:cNvPicPr>
            <a:picLocks noChangeAspect="1"/>
          </p:cNvPicPr>
          <p:nvPr userDrawn="1"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11500"/>
                    </a14:imgEffect>
                    <a14:imgEffect>
                      <a14:saturation sat="4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20743" b="34544"/>
          <a:stretch>
            <a:fillRect/>
          </a:stretch>
        </p:blipFill>
        <p:spPr>
          <a:xfrm>
            <a:off x="3142020" y="4144987"/>
            <a:ext cx="4545974" cy="2095476"/>
          </a:xfrm>
          <a:prstGeom prst="rect">
            <a:avLst/>
          </a:prstGeom>
        </p:spPr>
      </p:pic>
      <p:pic>
        <p:nvPicPr>
          <p:cNvPr id="19" name="图片 18" descr="图片包含 自然&#10;&#10;已生成高可信度的说明"/>
          <p:cNvPicPr>
            <a:picLocks noChangeAspect="1"/>
          </p:cNvPicPr>
          <p:nvPr userDrawn="1"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11500"/>
                    </a14:imgEffect>
                    <a14:imgEffect>
                      <a14:saturation sat="4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20743" r="41278" b="34544"/>
          <a:stretch>
            <a:fillRect/>
          </a:stretch>
        </p:blipFill>
        <p:spPr>
          <a:xfrm>
            <a:off x="9132333" y="2563585"/>
            <a:ext cx="3059667" cy="2401767"/>
          </a:xfrm>
          <a:prstGeom prst="rect">
            <a:avLst/>
          </a:prstGeom>
        </p:spPr>
      </p:pic>
      <p:pic>
        <p:nvPicPr>
          <p:cNvPr id="14" name="图片 13" descr="图片包含 建筑物&#10;&#10;已生成高可信度的说明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146" t="23482" r="2561" b="25625"/>
          <a:stretch>
            <a:fillRect/>
          </a:stretch>
        </p:blipFill>
        <p:spPr>
          <a:xfrm>
            <a:off x="5486400" y="3156857"/>
            <a:ext cx="6705601" cy="3461659"/>
          </a:xfrm>
          <a:prstGeom prst="rect">
            <a:avLst/>
          </a:prstGeom>
        </p:spPr>
      </p:pic>
      <p:pic>
        <p:nvPicPr>
          <p:cNvPr id="2" name="图片 1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4695"/>
          <a:stretch>
            <a:fillRect/>
          </a:stretch>
        </p:blipFill>
        <p:spPr>
          <a:xfrm>
            <a:off x="0" y="5181600"/>
            <a:ext cx="12192000" cy="1678971"/>
          </a:xfrm>
          <a:prstGeom prst="rect">
            <a:avLst/>
          </a:prstGeom>
        </p:spPr>
      </p:pic>
      <p:sp>
        <p:nvSpPr>
          <p:cNvPr id="9801" name="副标题 2"/>
          <p:cNvSpPr>
            <a:spLocks noGrp="1"/>
          </p:cNvSpPr>
          <p:nvPr userDrawn="1">
            <p:ph type="subTitle" idx="1"/>
          </p:nvPr>
        </p:nvSpPr>
        <p:spPr>
          <a:xfrm>
            <a:off x="673099" y="4135526"/>
            <a:ext cx="7331943" cy="558799"/>
          </a:xfrm>
        </p:spPr>
        <p:txBody>
          <a:bodyPr anchor="ctr">
            <a:norm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  <a:endParaRPr lang="en-US" dirty="0"/>
          </a:p>
        </p:txBody>
      </p:sp>
      <p:sp>
        <p:nvSpPr>
          <p:cNvPr id="9802" name="标题 1"/>
          <p:cNvSpPr>
            <a:spLocks noGrp="1"/>
          </p:cNvSpPr>
          <p:nvPr userDrawn="1">
            <p:ph type="ctrTitle"/>
          </p:nvPr>
        </p:nvSpPr>
        <p:spPr>
          <a:xfrm>
            <a:off x="673099" y="3537858"/>
            <a:ext cx="7317015" cy="598714"/>
          </a:xfrm>
        </p:spPr>
        <p:txBody>
          <a:bodyPr anchor="ctr">
            <a:norm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12" name="文本占位符 1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4188545" y="5735007"/>
            <a:ext cx="7331943" cy="296271"/>
          </a:xfrm>
        </p:spPr>
        <p:txBody>
          <a:bodyPr vert="horz" anchor="ctr">
            <a:noAutofit/>
          </a:bodyPr>
          <a:lstStyle>
            <a:lvl1pPr marL="0" indent="0" algn="r">
              <a:buNone/>
              <a:defRPr sz="1500" b="0">
                <a:solidFill>
                  <a:schemeClr val="tx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  <a:endParaRPr lang="en-US" altLang="zh-CN" dirty="0"/>
          </a:p>
        </p:txBody>
      </p:sp>
      <p:sp>
        <p:nvSpPr>
          <p:cNvPr id="13" name="文本占位符 13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4188545" y="6031278"/>
            <a:ext cx="7331943" cy="296271"/>
          </a:xfrm>
        </p:spPr>
        <p:txBody>
          <a:bodyPr vert="horz" anchor="ctr">
            <a:noAutofit/>
          </a:bodyPr>
          <a:lstStyle>
            <a:lvl1pPr marL="0" indent="0" algn="r">
              <a:buNone/>
              <a:defRPr sz="1500" b="0">
                <a:solidFill>
                  <a:schemeClr val="tx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  <p:pic>
        <p:nvPicPr>
          <p:cNvPr id="20" name="图片 19" descr="图片包含 自然&#10;&#10;已生成高可信度的说明"/>
          <p:cNvPicPr>
            <a:picLocks noChangeAspect="1"/>
          </p:cNvPicPr>
          <p:nvPr userDrawn="1"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11500"/>
                    </a14:imgEffect>
                    <a14:imgEffect>
                      <a14:saturation sat="4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64501" t="20743" b="34544"/>
          <a:stretch>
            <a:fillRect/>
          </a:stretch>
        </p:blipFill>
        <p:spPr>
          <a:xfrm>
            <a:off x="-1" y="3589815"/>
            <a:ext cx="1613765" cy="2095476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 showMasterSp="0" userDrawn="1">
  <p:cSld name="节标题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图片 11" descr="图片包含 建筑物&#10;&#10;已生成高可信度的说明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146" t="23482" r="2561" b="25625"/>
          <a:stretch>
            <a:fillRect/>
          </a:stretch>
        </p:blipFill>
        <p:spPr>
          <a:xfrm>
            <a:off x="5486400" y="3156857"/>
            <a:ext cx="6705601" cy="3461659"/>
          </a:xfrm>
          <a:prstGeom prst="rect">
            <a:avLst/>
          </a:prstGeom>
        </p:spPr>
      </p:pic>
      <p:sp>
        <p:nvSpPr>
          <p:cNvPr id="20" name="标题 1"/>
          <p:cNvSpPr>
            <a:spLocks noGrp="1"/>
          </p:cNvSpPr>
          <p:nvPr userDrawn="1">
            <p:ph type="title"/>
          </p:nvPr>
        </p:nvSpPr>
        <p:spPr>
          <a:xfrm>
            <a:off x="675698" y="2657929"/>
            <a:ext cx="5419185" cy="895350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"/>
          <p:cNvSpPr>
            <a:spLocks noGrp="1"/>
          </p:cNvSpPr>
          <p:nvPr userDrawn="1">
            <p:ph type="body" idx="1"/>
          </p:nvPr>
        </p:nvSpPr>
        <p:spPr>
          <a:xfrm>
            <a:off x="676814" y="3553279"/>
            <a:ext cx="5419185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00000"/>
              </a:lnSpc>
              <a:buNone/>
              <a:defRPr sz="11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  <a:endParaRPr lang="en-US" dirty="0"/>
          </a:p>
        </p:txBody>
      </p:sp>
      <p:pic>
        <p:nvPicPr>
          <p:cNvPr id="11" name="图片 10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4695"/>
          <a:stretch>
            <a:fillRect/>
          </a:stretch>
        </p:blipFill>
        <p:spPr>
          <a:xfrm>
            <a:off x="0" y="5181600"/>
            <a:ext cx="12192000" cy="1678971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sp>
        <p:nvSpPr>
          <p:cNvPr id="6" name="标题 5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/>
          <p:cNvSpPr>
            <a:spLocks noGrp="1"/>
          </p:cNvSpPr>
          <p:nvPr>
            <p:ph sz="quarter" idx="13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  <a:endParaRPr lang="en-US" altLang="zh-CN" dirty="0"/>
          </a:p>
          <a:p>
            <a:pPr lvl="1"/>
            <a:r>
              <a:rPr lang="en-US" altLang="zh-CN" dirty="0"/>
              <a:t>Second level</a:t>
            </a:r>
            <a:endParaRPr lang="en-US" altLang="zh-CN" dirty="0"/>
          </a:p>
          <a:p>
            <a:pPr lvl="2"/>
            <a:r>
              <a:rPr lang="en-US" altLang="zh-CN" dirty="0"/>
              <a:t>Third level</a:t>
            </a:r>
            <a:endParaRPr lang="en-US" altLang="zh-CN" dirty="0"/>
          </a:p>
          <a:p>
            <a:pPr lvl="3"/>
            <a:r>
              <a:rPr lang="en-US" altLang="zh-CN" dirty="0"/>
              <a:t>Fourth level</a:t>
            </a:r>
            <a:endParaRPr lang="en-US" altLang="zh-CN" dirty="0"/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</a:fld>
            <a:endParaRPr lang="zh-CN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 showMasterSp="0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末尾幻灯片">
    <p:bg>
      <p:bgPr>
        <a:gradFill>
          <a:gsLst>
            <a:gs pos="100000">
              <a:srgbClr val="F75F53"/>
            </a:gs>
            <a:gs pos="0">
              <a:schemeClr val="accent3">
                <a:lumMod val="40000"/>
                <a:lumOff val="60000"/>
              </a:schemeClr>
            </a:gs>
          </a:gsLst>
          <a:lin ang="162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图片 4" descr="图片包含 建筑物&#10;&#10;已生成高可信度的说明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146" t="23482" r="2561" b="25625"/>
          <a:stretch>
            <a:fillRect/>
          </a:stretch>
        </p:blipFill>
        <p:spPr>
          <a:xfrm>
            <a:off x="5486400" y="3156857"/>
            <a:ext cx="6705601" cy="3461659"/>
          </a:xfrm>
          <a:prstGeom prst="rect">
            <a:avLst/>
          </a:prstGeom>
        </p:spPr>
      </p:pic>
      <p:pic>
        <p:nvPicPr>
          <p:cNvPr id="7" name="图片 6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4695"/>
          <a:stretch>
            <a:fillRect/>
          </a:stretch>
        </p:blipFill>
        <p:spPr>
          <a:xfrm>
            <a:off x="0" y="5181600"/>
            <a:ext cx="12192000" cy="1678971"/>
          </a:xfrm>
          <a:prstGeom prst="rect">
            <a:avLst/>
          </a:prstGeom>
        </p:spPr>
      </p:pic>
      <p:sp>
        <p:nvSpPr>
          <p:cNvPr id="13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673100" y="1828563"/>
            <a:ext cx="10845798" cy="1621509"/>
          </a:xfrm>
        </p:spPr>
        <p:txBody>
          <a:bodyPr anchor="b">
            <a:normAutofit/>
          </a:bodyPr>
          <a:lstStyle>
            <a:lvl1pPr marL="0" indent="0" algn="l">
              <a:buFont typeface="Arial" panose="020B0604020202090204" pitchFamily="34" charset="0"/>
              <a:buNone/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62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673100" y="4139799"/>
            <a:ext cx="10845798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l">
              <a:buNone/>
              <a:defRPr lang="zh-CN" altLang="en-US" sz="1500" smtClean="0">
                <a:solidFill>
                  <a:schemeClr val="tx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600" marR="0" lvl="0" indent="-228600" fontAlgn="auto">
              <a:spcAft>
                <a:spcPts val="0"/>
              </a:spcAft>
              <a:buClrTx/>
              <a:buSzTx/>
            </a:pPr>
            <a:r>
              <a:rPr lang="en-US" altLang="zh-CN" dirty="0"/>
              <a:t>Data</a:t>
            </a:r>
            <a:endParaRPr lang="en-US" altLang="zh-CN" dirty="0"/>
          </a:p>
        </p:txBody>
      </p:sp>
      <p:sp>
        <p:nvSpPr>
          <p:cNvPr id="6" name="文本占位符 13"/>
          <p:cNvSpPr>
            <a:spLocks noGrp="1"/>
          </p:cNvSpPr>
          <p:nvPr>
            <p:ph type="body" sz="quarter" idx="10" hasCustomPrompt="1"/>
          </p:nvPr>
        </p:nvSpPr>
        <p:spPr>
          <a:xfrm>
            <a:off x="673102" y="3843528"/>
            <a:ext cx="10845798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tx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  <a:endParaRPr lang="en-US" altLang="zh-CN" dirty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7" Type="http://schemas.openxmlformats.org/officeDocument/2006/relationships/theme" Target="../theme/theme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  <a:endParaRPr lang="en-US" dirty="0"/>
          </a:p>
          <a:p>
            <a:pPr lvl="1"/>
            <a:r>
              <a:rPr lang="en-US" dirty="0"/>
              <a:t>Second level</a:t>
            </a:r>
            <a:endParaRPr lang="en-US" dirty="0"/>
          </a:p>
          <a:p>
            <a:pPr lvl="2"/>
            <a:r>
              <a:rPr lang="en-US" dirty="0"/>
              <a:t>Third level</a:t>
            </a:r>
            <a:endParaRPr lang="en-US" dirty="0"/>
          </a:p>
          <a:p>
            <a:pPr lvl="3"/>
            <a:r>
              <a:rPr lang="en-US" dirty="0"/>
              <a:t>Fourth level</a:t>
            </a:r>
            <a:endParaRPr lang="en-US" dirty="0"/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3"/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489D9C7-5DC6-4263-87FF-7C99F6FB63C3}" type="datetime1">
              <a:rPr lang="zh-CN" altLang="en-US" smtClean="0"/>
            </a:fld>
            <a:endParaRPr lang="zh-CN" altLang="en-US"/>
          </a:p>
        </p:txBody>
      </p:sp>
      <p:sp>
        <p:nvSpPr>
          <p:cNvPr id="9" name="页脚占位符 4"/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altLang="zh-CN" dirty="0"/>
              <a:t>www.islide.cc</a:t>
            </a:r>
            <a:endParaRPr lang="zh-CN" altLang="en-US" dirty="0"/>
          </a:p>
        </p:txBody>
      </p:sp>
      <p:sp>
        <p:nvSpPr>
          <p:cNvPr id="10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</p:sldLayoutIdLst>
  <p:hf hdr="0" dt="0"/>
  <p:txStyles>
    <p:titleStyle>
      <a:lvl1pPr algn="l" defTabSz="913765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3765" rtl="0" eaLnBrk="1" latinLnBrk="0" hangingPunct="1">
        <a:lnSpc>
          <a:spcPct val="90000"/>
        </a:lnSpc>
        <a:spcBef>
          <a:spcPts val="1000"/>
        </a:spcBef>
        <a:buFont typeface="Arial" panose="020B060402020209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1.vml"/><Relationship Id="rId6" Type="http://schemas.openxmlformats.org/officeDocument/2006/relationships/slideLayout" Target="../slideLayouts/slideLayout1.xml"/><Relationship Id="rId5" Type="http://schemas.openxmlformats.org/officeDocument/2006/relationships/themeOverride" Target="../theme/themeOverride1.xml"/><Relationship Id="rId4" Type="http://schemas.openxmlformats.org/officeDocument/2006/relationships/tags" Target="../tags/tag2.xml"/><Relationship Id="rId3" Type="http://schemas.openxmlformats.org/officeDocument/2006/relationships/image" Target="../media/image4.emf"/><Relationship Id="rId2" Type="http://schemas.openxmlformats.org/officeDocument/2006/relationships/oleObject" Target="../embeddings/oleObject1.bin"/><Relationship Id="rId1" Type="http://schemas.openxmlformats.org/officeDocument/2006/relationships/tags" Target="../tags/tag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6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image" Target="../media/image8.pn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7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2.vml"/><Relationship Id="rId6" Type="http://schemas.openxmlformats.org/officeDocument/2006/relationships/slideLayout" Target="../slideLayouts/slideLayout6.xml"/><Relationship Id="rId5" Type="http://schemas.openxmlformats.org/officeDocument/2006/relationships/themeOverride" Target="../theme/themeOverride8.xml"/><Relationship Id="rId4" Type="http://schemas.openxmlformats.org/officeDocument/2006/relationships/tags" Target="../tags/tag5.xml"/><Relationship Id="rId3" Type="http://schemas.openxmlformats.org/officeDocument/2006/relationships/image" Target="../media/image4.emf"/><Relationship Id="rId2" Type="http://schemas.openxmlformats.org/officeDocument/2006/relationships/oleObject" Target="../embeddings/oleObject2.bin"/><Relationship Id="rId1" Type="http://schemas.openxmlformats.org/officeDocument/2006/relationships/tags" Target="../tags/tag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hemeOverride" Target="../theme/themeOverride2.xml"/><Relationship Id="rId1" Type="http://schemas.openxmlformats.org/officeDocument/2006/relationships/tags" Target="../tags/tag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image" Target="../media/image5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image" Target="../media/image6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5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image" Target="../media/image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9" name="think-cell Slide" r:id="rId2" imgW="0" imgH="0" progId="TCLayout.ActiveDocument.1">
                  <p:embed/>
                </p:oleObj>
              </mc:Choice>
              <mc:Fallback>
                <p:oleObj name="think-cell Slide" r:id="rId2" imgW="0" imgH="0" progId="TCLayout.ActiveDocument.1">
                  <p:embed/>
                  <p:pic>
                    <p:nvPicPr>
                      <p:cNvPr id="0" name="对象 2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90204" pitchFamily="34" charset="0"/>
              <a:ea typeface="微软雅黑" panose="020B0503020204020204" pitchFamily="34" charset="-122"/>
              <a:cs typeface="+mj-cs"/>
              <a:sym typeface="Arial" panose="020B0604020202090204" pitchFamily="34" charset="0"/>
            </a:endParaRPr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/>
          </p:nvPr>
        </p:nvSpPr>
        <p:spPr>
          <a:xfrm>
            <a:off x="4188545" y="5735007"/>
            <a:ext cx="7331943" cy="296271"/>
          </a:xfrm>
        </p:spPr>
        <p:txBody>
          <a:bodyPr/>
          <a:lstStyle/>
          <a:p>
            <a:r>
              <a:rPr lang="zh-CN" altLang="en-US" dirty="0">
                <a:solidFill>
                  <a:schemeClr val="bg1"/>
                </a:solidFill>
              </a:rPr>
              <a:t>                                                                                               </a:t>
            </a:r>
            <a:r>
              <a:rPr lang="zh-CN" altLang="en-US" dirty="0">
                <a:solidFill>
                  <a:schemeClr val="bg1"/>
                </a:solidFill>
              </a:rPr>
              <a:t>李新光</a:t>
            </a:r>
            <a:endParaRPr lang="zh-CN" altLang="en-US" dirty="0">
              <a:solidFill>
                <a:schemeClr val="bg1"/>
              </a:solidFill>
            </a:endParaRPr>
          </a:p>
        </p:txBody>
      </p:sp>
      <p:sp>
        <p:nvSpPr>
          <p:cNvPr id="7" name="文本占位符 6"/>
          <p:cNvSpPr>
            <a:spLocks noGrp="1"/>
          </p:cNvSpPr>
          <p:nvPr>
            <p:ph type="body" sz="quarter" idx="11"/>
          </p:nvPr>
        </p:nvSpPr>
        <p:spPr>
          <a:xfrm>
            <a:off x="4188545" y="6031278"/>
            <a:ext cx="7331943" cy="296271"/>
          </a:xfrm>
        </p:spPr>
        <p:txBody>
          <a:bodyPr/>
          <a:lstStyle/>
          <a:p>
            <a:r>
              <a:rPr lang="zh-CN" altLang="en-US" dirty="0">
                <a:solidFill>
                  <a:schemeClr val="bg1"/>
                </a:solidFill>
              </a:rPr>
              <a:t>数据组</a:t>
            </a:r>
            <a:endParaRPr lang="zh-CN" altLang="en-US" dirty="0">
              <a:solidFill>
                <a:schemeClr val="bg1"/>
              </a:solidFill>
            </a:endParaRPr>
          </a:p>
        </p:txBody>
      </p:sp>
      <p:sp>
        <p:nvSpPr>
          <p:cNvPr id="22" name="文本框 21"/>
          <p:cNvSpPr txBox="1"/>
          <p:nvPr/>
        </p:nvSpPr>
        <p:spPr>
          <a:xfrm>
            <a:off x="8868391" y="1646369"/>
            <a:ext cx="1673535" cy="2113941"/>
          </a:xfrm>
          <a:prstGeom prst="rect">
            <a:avLst/>
          </a:prstGeom>
          <a:noFill/>
        </p:spPr>
        <p:txBody>
          <a:bodyPr vert="eaVert"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050" dirty="0">
                <a:solidFill>
                  <a:schemeClr val="bg1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国庆纪念日是近代民族国家的一种特征，是伴随着近代民族国家的出现而出现的，并且变得尤为重要。它成为一个独立国家的标志，反映这个国家的国体和政体。</a:t>
            </a:r>
            <a:endParaRPr lang="zh-CN" altLang="en-US" sz="1050" dirty="0">
              <a:solidFill>
                <a:schemeClr val="bg1"/>
              </a:solidFill>
              <a:latin typeface="宋体" panose="02010600030101010101" pitchFamily="2" charset="-122"/>
              <a:ea typeface="宋体" panose="02010600030101010101" pitchFamily="2" charset="-122"/>
            </a:endParaRPr>
          </a:p>
          <a:p>
            <a:endParaRPr lang="zh-CN" altLang="en-US" dirty="0"/>
          </a:p>
        </p:txBody>
      </p:sp>
      <p:sp>
        <p:nvSpPr>
          <p:cNvPr id="23" name="文本框 22"/>
          <p:cNvSpPr txBox="1"/>
          <p:nvPr/>
        </p:nvSpPr>
        <p:spPr>
          <a:xfrm>
            <a:off x="8764004" y="901874"/>
            <a:ext cx="2871829" cy="16004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zh-CN" sz="4000" dirty="0">
                <a:solidFill>
                  <a:schemeClr val="bg1"/>
                </a:solidFill>
                <a:latin typeface="Arial Black" panose="020B0A04020102020204" pitchFamily="34" charset="0"/>
              </a:rPr>
              <a:t>National Day</a:t>
            </a:r>
            <a:endParaRPr lang="zh-CN" altLang="en-US" sz="4000" dirty="0">
              <a:solidFill>
                <a:schemeClr val="bg1"/>
              </a:solidFill>
              <a:latin typeface="Arial Black" panose="020B0A04020102020204" pitchFamily="34" charset="0"/>
            </a:endParaRPr>
          </a:p>
          <a:p>
            <a:endParaRPr lang="zh-CN" altLang="en-US" dirty="0">
              <a:solidFill>
                <a:schemeClr val="bg1"/>
              </a:solidFill>
            </a:endParaRPr>
          </a:p>
        </p:txBody>
      </p:sp>
      <p:grpSp>
        <p:nvGrpSpPr>
          <p:cNvPr id="25" name="组合 24"/>
          <p:cNvGrpSpPr/>
          <p:nvPr/>
        </p:nvGrpSpPr>
        <p:grpSpPr>
          <a:xfrm>
            <a:off x="669925" y="1028700"/>
            <a:ext cx="8561757" cy="2793983"/>
            <a:chOff x="5643813" y="717861"/>
            <a:chExt cx="5604093" cy="1828800"/>
          </a:xfrm>
          <a:gradFill>
            <a:gsLst>
              <a:gs pos="99000">
                <a:srgbClr val="FFF7E5"/>
              </a:gs>
              <a:gs pos="0">
                <a:schemeClr val="accent3">
                  <a:lumMod val="40000"/>
                  <a:lumOff val="60000"/>
                </a:schemeClr>
              </a:gs>
            </a:gsLst>
            <a:lin ang="2700000" scaled="0"/>
          </a:gradFill>
          <a:effectLst/>
        </p:grpSpPr>
        <p:sp>
          <p:nvSpPr>
            <p:cNvPr id="26" name="任意多边形: 形状 25"/>
            <p:cNvSpPr/>
            <p:nvPr/>
          </p:nvSpPr>
          <p:spPr>
            <a:xfrm>
              <a:off x="7216207" y="880434"/>
              <a:ext cx="1438275" cy="1609725"/>
            </a:xfrm>
            <a:custGeom>
              <a:avLst/>
              <a:gdLst>
                <a:gd name="connsiteX0" fmla="*/ 711994 w 1438275"/>
                <a:gd name="connsiteY0" fmla="*/ 1292490 h 1609725"/>
                <a:gd name="connsiteX1" fmla="*/ 698659 w 1438275"/>
                <a:gd name="connsiteY1" fmla="*/ 1293442 h 1609725"/>
                <a:gd name="connsiteX2" fmla="*/ 676751 w 1438275"/>
                <a:gd name="connsiteY2" fmla="*/ 1307730 h 1609725"/>
                <a:gd name="connsiteX3" fmla="*/ 659606 w 1438275"/>
                <a:gd name="connsiteY3" fmla="*/ 1337257 h 1609725"/>
                <a:gd name="connsiteX4" fmla="*/ 704374 w 1438275"/>
                <a:gd name="connsiteY4" fmla="*/ 1383930 h 1609725"/>
                <a:gd name="connsiteX5" fmla="*/ 779621 w 1438275"/>
                <a:gd name="connsiteY5" fmla="*/ 1409647 h 1609725"/>
                <a:gd name="connsiteX6" fmla="*/ 840581 w 1438275"/>
                <a:gd name="connsiteY6" fmla="*/ 1388692 h 1609725"/>
                <a:gd name="connsiteX7" fmla="*/ 887254 w 1438275"/>
                <a:gd name="connsiteY7" fmla="*/ 1358212 h 1609725"/>
                <a:gd name="connsiteX8" fmla="*/ 832961 w 1438275"/>
                <a:gd name="connsiteY8" fmla="*/ 1323922 h 1609725"/>
                <a:gd name="connsiteX9" fmla="*/ 735806 w 1438275"/>
                <a:gd name="connsiteY9" fmla="*/ 1294395 h 1609725"/>
                <a:gd name="connsiteX10" fmla="*/ 711994 w 1438275"/>
                <a:gd name="connsiteY10" fmla="*/ 1292490 h 1609725"/>
                <a:gd name="connsiteX11" fmla="*/ 711994 w 1438275"/>
                <a:gd name="connsiteY11" fmla="*/ 1292490 h 1609725"/>
                <a:gd name="connsiteX12" fmla="*/ 693896 w 1438275"/>
                <a:gd name="connsiteY12" fmla="*/ 720990 h 1609725"/>
                <a:gd name="connsiteX13" fmla="*/ 686276 w 1438275"/>
                <a:gd name="connsiteY13" fmla="*/ 732420 h 1609725"/>
                <a:gd name="connsiteX14" fmla="*/ 679609 w 1438275"/>
                <a:gd name="connsiteY14" fmla="*/ 744802 h 1609725"/>
                <a:gd name="connsiteX15" fmla="*/ 667226 w 1438275"/>
                <a:gd name="connsiteY15" fmla="*/ 782902 h 1609725"/>
                <a:gd name="connsiteX16" fmla="*/ 675799 w 1438275"/>
                <a:gd name="connsiteY16" fmla="*/ 780997 h 1609725"/>
                <a:gd name="connsiteX17" fmla="*/ 692944 w 1438275"/>
                <a:gd name="connsiteY17" fmla="*/ 760042 h 1609725"/>
                <a:gd name="connsiteX18" fmla="*/ 697706 w 1438275"/>
                <a:gd name="connsiteY18" fmla="*/ 726705 h 1609725"/>
                <a:gd name="connsiteX19" fmla="*/ 693896 w 1438275"/>
                <a:gd name="connsiteY19" fmla="*/ 720990 h 1609725"/>
                <a:gd name="connsiteX20" fmla="*/ 693896 w 1438275"/>
                <a:gd name="connsiteY20" fmla="*/ 720990 h 1609725"/>
                <a:gd name="connsiteX21" fmla="*/ 976789 w 1438275"/>
                <a:gd name="connsiteY21" fmla="*/ 558112 h 1609725"/>
                <a:gd name="connsiteX22" fmla="*/ 969169 w 1438275"/>
                <a:gd name="connsiteY22" fmla="*/ 561922 h 1609725"/>
                <a:gd name="connsiteX23" fmla="*/ 941546 w 1438275"/>
                <a:gd name="connsiteY23" fmla="*/ 599070 h 1609725"/>
                <a:gd name="connsiteX24" fmla="*/ 909161 w 1438275"/>
                <a:gd name="connsiteY24" fmla="*/ 657172 h 1609725"/>
                <a:gd name="connsiteX25" fmla="*/ 922496 w 1438275"/>
                <a:gd name="connsiteY25" fmla="*/ 660030 h 1609725"/>
                <a:gd name="connsiteX26" fmla="*/ 947261 w 1438275"/>
                <a:gd name="connsiteY26" fmla="*/ 656220 h 1609725"/>
                <a:gd name="connsiteX27" fmla="*/ 966311 w 1438275"/>
                <a:gd name="connsiteY27" fmla="*/ 647647 h 1609725"/>
                <a:gd name="connsiteX28" fmla="*/ 977741 w 1438275"/>
                <a:gd name="connsiteY28" fmla="*/ 605737 h 1609725"/>
                <a:gd name="connsiteX29" fmla="*/ 980599 w 1438275"/>
                <a:gd name="connsiteY29" fmla="*/ 562875 h 1609725"/>
                <a:gd name="connsiteX30" fmla="*/ 976789 w 1438275"/>
                <a:gd name="connsiteY30" fmla="*/ 558112 h 1609725"/>
                <a:gd name="connsiteX31" fmla="*/ 976789 w 1438275"/>
                <a:gd name="connsiteY31" fmla="*/ 558112 h 1609725"/>
                <a:gd name="connsiteX32" fmla="*/ 934879 w 1438275"/>
                <a:gd name="connsiteY32" fmla="*/ 556207 h 1609725"/>
                <a:gd name="connsiteX33" fmla="*/ 901541 w 1438275"/>
                <a:gd name="connsiteY33" fmla="*/ 606690 h 1609725"/>
                <a:gd name="connsiteX34" fmla="*/ 879634 w 1438275"/>
                <a:gd name="connsiteY34" fmla="*/ 660030 h 1609725"/>
                <a:gd name="connsiteX35" fmla="*/ 882491 w 1438275"/>
                <a:gd name="connsiteY35" fmla="*/ 659077 h 1609725"/>
                <a:gd name="connsiteX36" fmla="*/ 887254 w 1438275"/>
                <a:gd name="connsiteY36" fmla="*/ 652410 h 1609725"/>
                <a:gd name="connsiteX37" fmla="*/ 893921 w 1438275"/>
                <a:gd name="connsiteY37" fmla="*/ 641932 h 1609725"/>
                <a:gd name="connsiteX38" fmla="*/ 901541 w 1438275"/>
                <a:gd name="connsiteY38" fmla="*/ 628597 h 1609725"/>
                <a:gd name="connsiteX39" fmla="*/ 910114 w 1438275"/>
                <a:gd name="connsiteY39" fmla="*/ 611452 h 1609725"/>
                <a:gd name="connsiteX40" fmla="*/ 923449 w 1438275"/>
                <a:gd name="connsiteY40" fmla="*/ 583830 h 1609725"/>
                <a:gd name="connsiteX41" fmla="*/ 934879 w 1438275"/>
                <a:gd name="connsiteY41" fmla="*/ 556207 h 1609725"/>
                <a:gd name="connsiteX42" fmla="*/ 934879 w 1438275"/>
                <a:gd name="connsiteY42" fmla="*/ 556207 h 1609725"/>
                <a:gd name="connsiteX43" fmla="*/ 943451 w 1438275"/>
                <a:gd name="connsiteY43" fmla="*/ 487627 h 1609725"/>
                <a:gd name="connsiteX44" fmla="*/ 892016 w 1438275"/>
                <a:gd name="connsiteY44" fmla="*/ 503820 h 1609725"/>
                <a:gd name="connsiteX45" fmla="*/ 824389 w 1438275"/>
                <a:gd name="connsiteY45" fmla="*/ 533347 h 1609725"/>
                <a:gd name="connsiteX46" fmla="*/ 772954 w 1438275"/>
                <a:gd name="connsiteY46" fmla="*/ 585735 h 1609725"/>
                <a:gd name="connsiteX47" fmla="*/ 751999 w 1438275"/>
                <a:gd name="connsiteY47" fmla="*/ 624787 h 1609725"/>
                <a:gd name="connsiteX48" fmla="*/ 773906 w 1438275"/>
                <a:gd name="connsiteY48" fmla="*/ 636217 h 1609725"/>
                <a:gd name="connsiteX49" fmla="*/ 811054 w 1438275"/>
                <a:gd name="connsiteY49" fmla="*/ 648600 h 1609725"/>
                <a:gd name="connsiteX50" fmla="*/ 843439 w 1438275"/>
                <a:gd name="connsiteY50" fmla="*/ 661935 h 1609725"/>
                <a:gd name="connsiteX51" fmla="*/ 872966 w 1438275"/>
                <a:gd name="connsiteY51" fmla="*/ 615262 h 1609725"/>
                <a:gd name="connsiteX52" fmla="*/ 921544 w 1438275"/>
                <a:gd name="connsiteY52" fmla="*/ 529537 h 1609725"/>
                <a:gd name="connsiteX53" fmla="*/ 943451 w 1438275"/>
                <a:gd name="connsiteY53" fmla="*/ 487627 h 1609725"/>
                <a:gd name="connsiteX54" fmla="*/ 943451 w 1438275"/>
                <a:gd name="connsiteY54" fmla="*/ 487627 h 1609725"/>
                <a:gd name="connsiteX55" fmla="*/ 39529 w 1438275"/>
                <a:gd name="connsiteY55" fmla="*/ 1546807 h 1609725"/>
                <a:gd name="connsiteX56" fmla="*/ 33814 w 1438275"/>
                <a:gd name="connsiteY56" fmla="*/ 1523947 h 1609725"/>
                <a:gd name="connsiteX57" fmla="*/ 28099 w 1438275"/>
                <a:gd name="connsiteY57" fmla="*/ 1480132 h 1609725"/>
                <a:gd name="connsiteX58" fmla="*/ 17621 w 1438275"/>
                <a:gd name="connsiteY58" fmla="*/ 1460130 h 1609725"/>
                <a:gd name="connsiteX59" fmla="*/ 8096 w 1438275"/>
                <a:gd name="connsiteY59" fmla="*/ 1449652 h 1609725"/>
                <a:gd name="connsiteX60" fmla="*/ 13811 w 1438275"/>
                <a:gd name="connsiteY60" fmla="*/ 1437270 h 1609725"/>
                <a:gd name="connsiteX61" fmla="*/ 15716 w 1438275"/>
                <a:gd name="connsiteY61" fmla="*/ 1428697 h 1609725"/>
                <a:gd name="connsiteX62" fmla="*/ 7144 w 1438275"/>
                <a:gd name="connsiteY62" fmla="*/ 1428697 h 1609725"/>
                <a:gd name="connsiteX63" fmla="*/ 21431 w 1438275"/>
                <a:gd name="connsiteY63" fmla="*/ 1404885 h 1609725"/>
                <a:gd name="connsiteX64" fmla="*/ 43339 w 1438275"/>
                <a:gd name="connsiteY64" fmla="*/ 1388692 h 1609725"/>
                <a:gd name="connsiteX65" fmla="*/ 75724 w 1438275"/>
                <a:gd name="connsiteY65" fmla="*/ 1360117 h 1609725"/>
                <a:gd name="connsiteX66" fmla="*/ 102394 w 1438275"/>
                <a:gd name="connsiteY66" fmla="*/ 1328685 h 1609725"/>
                <a:gd name="connsiteX67" fmla="*/ 143351 w 1438275"/>
                <a:gd name="connsiteY67" fmla="*/ 1289632 h 1609725"/>
                <a:gd name="connsiteX68" fmla="*/ 181451 w 1438275"/>
                <a:gd name="connsiteY68" fmla="*/ 1260105 h 1609725"/>
                <a:gd name="connsiteX69" fmla="*/ 79534 w 1438275"/>
                <a:gd name="connsiteY69" fmla="*/ 1380120 h 1609725"/>
                <a:gd name="connsiteX70" fmla="*/ 51911 w 1438275"/>
                <a:gd name="connsiteY70" fmla="*/ 1413457 h 1609725"/>
                <a:gd name="connsiteX71" fmla="*/ 111919 w 1438275"/>
                <a:gd name="connsiteY71" fmla="*/ 1368690 h 1609725"/>
                <a:gd name="connsiteX72" fmla="*/ 151924 w 1438275"/>
                <a:gd name="connsiteY72" fmla="*/ 1326780 h 1609725"/>
                <a:gd name="connsiteX73" fmla="*/ 173831 w 1438275"/>
                <a:gd name="connsiteY73" fmla="*/ 1294395 h 1609725"/>
                <a:gd name="connsiteX74" fmla="*/ 210979 w 1438275"/>
                <a:gd name="connsiteY74" fmla="*/ 1251532 h 1609725"/>
                <a:gd name="connsiteX75" fmla="*/ 228124 w 1438275"/>
                <a:gd name="connsiteY75" fmla="*/ 1229625 h 1609725"/>
                <a:gd name="connsiteX76" fmla="*/ 252889 w 1438275"/>
                <a:gd name="connsiteY76" fmla="*/ 1196287 h 1609725"/>
                <a:gd name="connsiteX77" fmla="*/ 303371 w 1438275"/>
                <a:gd name="connsiteY77" fmla="*/ 1129612 h 1609725"/>
                <a:gd name="connsiteX78" fmla="*/ 313849 w 1438275"/>
                <a:gd name="connsiteY78" fmla="*/ 1116277 h 1609725"/>
                <a:gd name="connsiteX79" fmla="*/ 325279 w 1438275"/>
                <a:gd name="connsiteY79" fmla="*/ 1101037 h 1609725"/>
                <a:gd name="connsiteX80" fmla="*/ 340519 w 1438275"/>
                <a:gd name="connsiteY80" fmla="*/ 1085797 h 1609725"/>
                <a:gd name="connsiteX81" fmla="*/ 351949 w 1438275"/>
                <a:gd name="connsiteY81" fmla="*/ 1072462 h 1609725"/>
                <a:gd name="connsiteX82" fmla="*/ 381476 w 1438275"/>
                <a:gd name="connsiteY82" fmla="*/ 1021027 h 1609725"/>
                <a:gd name="connsiteX83" fmla="*/ 434816 w 1438275"/>
                <a:gd name="connsiteY83" fmla="*/ 952447 h 1609725"/>
                <a:gd name="connsiteX84" fmla="*/ 463391 w 1438275"/>
                <a:gd name="connsiteY84" fmla="*/ 913395 h 1609725"/>
                <a:gd name="connsiteX85" fmla="*/ 540544 w 1438275"/>
                <a:gd name="connsiteY85" fmla="*/ 759090 h 1609725"/>
                <a:gd name="connsiteX86" fmla="*/ 544354 w 1438275"/>
                <a:gd name="connsiteY86" fmla="*/ 749565 h 1609725"/>
                <a:gd name="connsiteX87" fmla="*/ 565309 w 1438275"/>
                <a:gd name="connsiteY87" fmla="*/ 699082 h 1609725"/>
                <a:gd name="connsiteX88" fmla="*/ 599599 w 1438275"/>
                <a:gd name="connsiteY88" fmla="*/ 628597 h 1609725"/>
                <a:gd name="connsiteX89" fmla="*/ 630079 w 1438275"/>
                <a:gd name="connsiteY89" fmla="*/ 563827 h 1609725"/>
                <a:gd name="connsiteX90" fmla="*/ 587216 w 1438275"/>
                <a:gd name="connsiteY90" fmla="*/ 574305 h 1609725"/>
                <a:gd name="connsiteX91" fmla="*/ 400526 w 1438275"/>
                <a:gd name="connsiteY91" fmla="*/ 617167 h 1609725"/>
                <a:gd name="connsiteX92" fmla="*/ 376714 w 1438275"/>
                <a:gd name="connsiteY92" fmla="*/ 597165 h 1609725"/>
                <a:gd name="connsiteX93" fmla="*/ 370046 w 1438275"/>
                <a:gd name="connsiteY93" fmla="*/ 580020 h 1609725"/>
                <a:gd name="connsiteX94" fmla="*/ 376714 w 1438275"/>
                <a:gd name="connsiteY94" fmla="*/ 557160 h 1609725"/>
                <a:gd name="connsiteX95" fmla="*/ 441484 w 1438275"/>
                <a:gd name="connsiteY95" fmla="*/ 504772 h 1609725"/>
                <a:gd name="connsiteX96" fmla="*/ 500539 w 1438275"/>
                <a:gd name="connsiteY96" fmla="*/ 481912 h 1609725"/>
                <a:gd name="connsiteX97" fmla="*/ 641509 w 1438275"/>
                <a:gd name="connsiteY97" fmla="*/ 371422 h 1609725"/>
                <a:gd name="connsiteX98" fmla="*/ 758666 w 1438275"/>
                <a:gd name="connsiteY98" fmla="*/ 253312 h 1609725"/>
                <a:gd name="connsiteX99" fmla="*/ 774859 w 1438275"/>
                <a:gd name="connsiteY99" fmla="*/ 207592 h 1609725"/>
                <a:gd name="connsiteX100" fmla="*/ 768191 w 1438275"/>
                <a:gd name="connsiteY100" fmla="*/ 181875 h 1609725"/>
                <a:gd name="connsiteX101" fmla="*/ 732949 w 1438275"/>
                <a:gd name="connsiteY101" fmla="*/ 153300 h 1609725"/>
                <a:gd name="connsiteX102" fmla="*/ 611981 w 1438275"/>
                <a:gd name="connsiteY102" fmla="*/ 15187 h 1609725"/>
                <a:gd name="connsiteX103" fmla="*/ 624364 w 1438275"/>
                <a:gd name="connsiteY103" fmla="*/ 7567 h 1609725"/>
                <a:gd name="connsiteX104" fmla="*/ 643414 w 1438275"/>
                <a:gd name="connsiteY104" fmla="*/ 7567 h 1609725"/>
                <a:gd name="connsiteX105" fmla="*/ 643414 w 1438275"/>
                <a:gd name="connsiteY105" fmla="*/ 7567 h 1609725"/>
                <a:gd name="connsiteX106" fmla="*/ 677704 w 1438275"/>
                <a:gd name="connsiteY106" fmla="*/ 9472 h 1609725"/>
                <a:gd name="connsiteX107" fmla="*/ 878681 w 1438275"/>
                <a:gd name="connsiteY107" fmla="*/ 70432 h 1609725"/>
                <a:gd name="connsiteX108" fmla="*/ 900589 w 1438275"/>
                <a:gd name="connsiteY108" fmla="*/ 97102 h 1609725"/>
                <a:gd name="connsiteX109" fmla="*/ 903446 w 1438275"/>
                <a:gd name="connsiteY109" fmla="*/ 139965 h 1609725"/>
                <a:gd name="connsiteX110" fmla="*/ 894874 w 1438275"/>
                <a:gd name="connsiteY110" fmla="*/ 224737 h 1609725"/>
                <a:gd name="connsiteX111" fmla="*/ 884396 w 1438275"/>
                <a:gd name="connsiteY111" fmla="*/ 263790 h 1609725"/>
                <a:gd name="connsiteX112" fmla="*/ 861536 w 1438275"/>
                <a:gd name="connsiteY112" fmla="*/ 290460 h 1609725"/>
                <a:gd name="connsiteX113" fmla="*/ 775811 w 1438275"/>
                <a:gd name="connsiteY113" fmla="*/ 340942 h 1609725"/>
                <a:gd name="connsiteX114" fmla="*/ 668179 w 1438275"/>
                <a:gd name="connsiteY114" fmla="*/ 401902 h 1609725"/>
                <a:gd name="connsiteX115" fmla="*/ 597694 w 1438275"/>
                <a:gd name="connsiteY115" fmla="*/ 455242 h 1609725"/>
                <a:gd name="connsiteX116" fmla="*/ 610076 w 1438275"/>
                <a:gd name="connsiteY116" fmla="*/ 451432 h 1609725"/>
                <a:gd name="connsiteX117" fmla="*/ 622459 w 1438275"/>
                <a:gd name="connsiteY117" fmla="*/ 445717 h 1609725"/>
                <a:gd name="connsiteX118" fmla="*/ 695801 w 1438275"/>
                <a:gd name="connsiteY118" fmla="*/ 418095 h 1609725"/>
                <a:gd name="connsiteX119" fmla="*/ 894874 w 1438275"/>
                <a:gd name="connsiteY119" fmla="*/ 332370 h 1609725"/>
                <a:gd name="connsiteX120" fmla="*/ 1000601 w 1438275"/>
                <a:gd name="connsiteY120" fmla="*/ 293317 h 1609725"/>
                <a:gd name="connsiteX121" fmla="*/ 1071086 w 1438275"/>
                <a:gd name="connsiteY121" fmla="*/ 299032 h 1609725"/>
                <a:gd name="connsiteX122" fmla="*/ 1103471 w 1438275"/>
                <a:gd name="connsiteY122" fmla="*/ 328560 h 1609725"/>
                <a:gd name="connsiteX123" fmla="*/ 1120616 w 1438275"/>
                <a:gd name="connsiteY123" fmla="*/ 365707 h 1609725"/>
                <a:gd name="connsiteX124" fmla="*/ 1100614 w 1438275"/>
                <a:gd name="connsiteY124" fmla="*/ 399997 h 1609725"/>
                <a:gd name="connsiteX125" fmla="*/ 1049179 w 1438275"/>
                <a:gd name="connsiteY125" fmla="*/ 434287 h 1609725"/>
                <a:gd name="connsiteX126" fmla="*/ 1012984 w 1438275"/>
                <a:gd name="connsiteY126" fmla="*/ 455242 h 1609725"/>
                <a:gd name="connsiteX127" fmla="*/ 1030129 w 1438275"/>
                <a:gd name="connsiteY127" fmla="*/ 455242 h 1609725"/>
                <a:gd name="connsiteX128" fmla="*/ 1070134 w 1438275"/>
                <a:gd name="connsiteY128" fmla="*/ 460957 h 1609725"/>
                <a:gd name="connsiteX129" fmla="*/ 1099661 w 1438275"/>
                <a:gd name="connsiteY129" fmla="*/ 481912 h 1609725"/>
                <a:gd name="connsiteX130" fmla="*/ 1107281 w 1438275"/>
                <a:gd name="connsiteY130" fmla="*/ 542872 h 1609725"/>
                <a:gd name="connsiteX131" fmla="*/ 1110139 w 1438275"/>
                <a:gd name="connsiteY131" fmla="*/ 582877 h 1609725"/>
                <a:gd name="connsiteX132" fmla="*/ 1126331 w 1438275"/>
                <a:gd name="connsiteY132" fmla="*/ 595260 h 1609725"/>
                <a:gd name="connsiteX133" fmla="*/ 1199674 w 1438275"/>
                <a:gd name="connsiteY133" fmla="*/ 608595 h 1609725"/>
                <a:gd name="connsiteX134" fmla="*/ 1264444 w 1438275"/>
                <a:gd name="connsiteY134" fmla="*/ 618120 h 1609725"/>
                <a:gd name="connsiteX135" fmla="*/ 1290161 w 1438275"/>
                <a:gd name="connsiteY135" fmla="*/ 660030 h 1609725"/>
                <a:gd name="connsiteX136" fmla="*/ 1304449 w 1438275"/>
                <a:gd name="connsiteY136" fmla="*/ 697177 h 1609725"/>
                <a:gd name="connsiteX137" fmla="*/ 1285399 w 1438275"/>
                <a:gd name="connsiteY137" fmla="*/ 712417 h 1609725"/>
                <a:gd name="connsiteX138" fmla="*/ 1226344 w 1438275"/>
                <a:gd name="connsiteY138" fmla="*/ 725752 h 1609725"/>
                <a:gd name="connsiteX139" fmla="*/ 1159669 w 1438275"/>
                <a:gd name="connsiteY139" fmla="*/ 736230 h 1609725"/>
                <a:gd name="connsiteX140" fmla="*/ 1121569 w 1438275"/>
                <a:gd name="connsiteY140" fmla="*/ 754327 h 1609725"/>
                <a:gd name="connsiteX141" fmla="*/ 1112044 w 1438275"/>
                <a:gd name="connsiteY141" fmla="*/ 760042 h 1609725"/>
                <a:gd name="connsiteX142" fmla="*/ 1079659 w 1438275"/>
                <a:gd name="connsiteY142" fmla="*/ 807667 h 1609725"/>
                <a:gd name="connsiteX143" fmla="*/ 1058704 w 1438275"/>
                <a:gd name="connsiteY143" fmla="*/ 896250 h 1609725"/>
                <a:gd name="connsiteX144" fmla="*/ 1046321 w 1438275"/>
                <a:gd name="connsiteY144" fmla="*/ 972450 h 1609725"/>
                <a:gd name="connsiteX145" fmla="*/ 1076801 w 1438275"/>
                <a:gd name="connsiteY145" fmla="*/ 1032457 h 1609725"/>
                <a:gd name="connsiteX146" fmla="*/ 1136809 w 1438275"/>
                <a:gd name="connsiteY146" fmla="*/ 1139137 h 1609725"/>
                <a:gd name="connsiteX147" fmla="*/ 1147286 w 1438275"/>
                <a:gd name="connsiteY147" fmla="*/ 1236292 h 1609725"/>
                <a:gd name="connsiteX148" fmla="*/ 1121569 w 1438275"/>
                <a:gd name="connsiteY148" fmla="*/ 1302015 h 1609725"/>
                <a:gd name="connsiteX149" fmla="*/ 1105376 w 1438275"/>
                <a:gd name="connsiteY149" fmla="*/ 1326780 h 1609725"/>
                <a:gd name="connsiteX150" fmla="*/ 1109186 w 1438275"/>
                <a:gd name="connsiteY150" fmla="*/ 1337257 h 1609725"/>
                <a:gd name="connsiteX151" fmla="*/ 1150144 w 1438275"/>
                <a:gd name="connsiteY151" fmla="*/ 1364880 h 1609725"/>
                <a:gd name="connsiteX152" fmla="*/ 1204436 w 1438275"/>
                <a:gd name="connsiteY152" fmla="*/ 1394407 h 1609725"/>
                <a:gd name="connsiteX153" fmla="*/ 1415891 w 1438275"/>
                <a:gd name="connsiteY153" fmla="*/ 1457272 h 1609725"/>
                <a:gd name="connsiteX154" fmla="*/ 1431131 w 1438275"/>
                <a:gd name="connsiteY154" fmla="*/ 1481085 h 1609725"/>
                <a:gd name="connsiteX155" fmla="*/ 1433989 w 1438275"/>
                <a:gd name="connsiteY155" fmla="*/ 1514422 h 1609725"/>
                <a:gd name="connsiteX156" fmla="*/ 1431131 w 1438275"/>
                <a:gd name="connsiteY156" fmla="*/ 1547760 h 1609725"/>
                <a:gd name="connsiteX157" fmla="*/ 1416844 w 1438275"/>
                <a:gd name="connsiteY157" fmla="*/ 1568715 h 1609725"/>
                <a:gd name="connsiteX158" fmla="*/ 1360646 w 1438275"/>
                <a:gd name="connsiteY158" fmla="*/ 1583955 h 1609725"/>
                <a:gd name="connsiteX159" fmla="*/ 1130141 w 1438275"/>
                <a:gd name="connsiteY159" fmla="*/ 1508707 h 1609725"/>
                <a:gd name="connsiteX160" fmla="*/ 992029 w 1438275"/>
                <a:gd name="connsiteY160" fmla="*/ 1416315 h 1609725"/>
                <a:gd name="connsiteX161" fmla="*/ 920591 w 1438275"/>
                <a:gd name="connsiteY161" fmla="*/ 1448700 h 1609725"/>
                <a:gd name="connsiteX162" fmla="*/ 847249 w 1438275"/>
                <a:gd name="connsiteY162" fmla="*/ 1482990 h 1609725"/>
                <a:gd name="connsiteX163" fmla="*/ 792956 w 1438275"/>
                <a:gd name="connsiteY163" fmla="*/ 1492515 h 1609725"/>
                <a:gd name="connsiteX164" fmla="*/ 731044 w 1438275"/>
                <a:gd name="connsiteY164" fmla="*/ 1482037 h 1609725"/>
                <a:gd name="connsiteX165" fmla="*/ 650081 w 1438275"/>
                <a:gd name="connsiteY165" fmla="*/ 1422030 h 1609725"/>
                <a:gd name="connsiteX166" fmla="*/ 550069 w 1438275"/>
                <a:gd name="connsiteY166" fmla="*/ 1300110 h 1609725"/>
                <a:gd name="connsiteX167" fmla="*/ 602456 w 1438275"/>
                <a:gd name="connsiteY167" fmla="*/ 1221052 h 1609725"/>
                <a:gd name="connsiteX168" fmla="*/ 640556 w 1438275"/>
                <a:gd name="connsiteY168" fmla="*/ 1209622 h 1609725"/>
                <a:gd name="connsiteX169" fmla="*/ 701516 w 1438275"/>
                <a:gd name="connsiteY169" fmla="*/ 1210575 h 1609725"/>
                <a:gd name="connsiteX170" fmla="*/ 921544 w 1438275"/>
                <a:gd name="connsiteY170" fmla="*/ 1263915 h 1609725"/>
                <a:gd name="connsiteX171" fmla="*/ 972979 w 1438275"/>
                <a:gd name="connsiteY171" fmla="*/ 1281060 h 1609725"/>
                <a:gd name="connsiteX172" fmla="*/ 1000601 w 1438275"/>
                <a:gd name="connsiteY172" fmla="*/ 1257247 h 1609725"/>
                <a:gd name="connsiteX173" fmla="*/ 1013936 w 1438275"/>
                <a:gd name="connsiteY173" fmla="*/ 1210575 h 1609725"/>
                <a:gd name="connsiteX174" fmla="*/ 1004411 w 1438275"/>
                <a:gd name="connsiteY174" fmla="*/ 1160092 h 1609725"/>
                <a:gd name="connsiteX175" fmla="*/ 963454 w 1438275"/>
                <a:gd name="connsiteY175" fmla="*/ 1105800 h 1609725"/>
                <a:gd name="connsiteX176" fmla="*/ 909161 w 1438275"/>
                <a:gd name="connsiteY176" fmla="*/ 1016265 h 1609725"/>
                <a:gd name="connsiteX177" fmla="*/ 923449 w 1438275"/>
                <a:gd name="connsiteY177" fmla="*/ 912442 h 1609725"/>
                <a:gd name="connsiteX178" fmla="*/ 932974 w 1438275"/>
                <a:gd name="connsiteY178" fmla="*/ 847672 h 1609725"/>
                <a:gd name="connsiteX179" fmla="*/ 899636 w 1438275"/>
                <a:gd name="connsiteY179" fmla="*/ 860055 h 1609725"/>
                <a:gd name="connsiteX180" fmla="*/ 853916 w 1438275"/>
                <a:gd name="connsiteY180" fmla="*/ 890535 h 1609725"/>
                <a:gd name="connsiteX181" fmla="*/ 842486 w 1438275"/>
                <a:gd name="connsiteY181" fmla="*/ 968640 h 1609725"/>
                <a:gd name="connsiteX182" fmla="*/ 832009 w 1438275"/>
                <a:gd name="connsiteY182" fmla="*/ 1052460 h 1609725"/>
                <a:gd name="connsiteX183" fmla="*/ 794861 w 1438275"/>
                <a:gd name="connsiteY183" fmla="*/ 1073415 h 1609725"/>
                <a:gd name="connsiteX184" fmla="*/ 728186 w 1438275"/>
                <a:gd name="connsiteY184" fmla="*/ 1067700 h 1609725"/>
                <a:gd name="connsiteX185" fmla="*/ 691991 w 1438275"/>
                <a:gd name="connsiteY185" fmla="*/ 992452 h 1609725"/>
                <a:gd name="connsiteX186" fmla="*/ 671036 w 1438275"/>
                <a:gd name="connsiteY186" fmla="*/ 946732 h 1609725"/>
                <a:gd name="connsiteX187" fmla="*/ 628174 w 1438275"/>
                <a:gd name="connsiteY187" fmla="*/ 960067 h 1609725"/>
                <a:gd name="connsiteX188" fmla="*/ 601504 w 1438275"/>
                <a:gd name="connsiteY188" fmla="*/ 973402 h 1609725"/>
                <a:gd name="connsiteX189" fmla="*/ 560546 w 1438275"/>
                <a:gd name="connsiteY189" fmla="*/ 1039125 h 1609725"/>
                <a:gd name="connsiteX190" fmla="*/ 536734 w 1438275"/>
                <a:gd name="connsiteY190" fmla="*/ 1070557 h 1609725"/>
                <a:gd name="connsiteX191" fmla="*/ 517684 w 1438275"/>
                <a:gd name="connsiteY191" fmla="*/ 1099132 h 1609725"/>
                <a:gd name="connsiteX192" fmla="*/ 487204 w 1438275"/>
                <a:gd name="connsiteY192" fmla="*/ 1152472 h 1609725"/>
                <a:gd name="connsiteX193" fmla="*/ 387191 w 1438275"/>
                <a:gd name="connsiteY193" fmla="*/ 1325827 h 1609725"/>
                <a:gd name="connsiteX194" fmla="*/ 354806 w 1438275"/>
                <a:gd name="connsiteY194" fmla="*/ 1373452 h 1609725"/>
                <a:gd name="connsiteX195" fmla="*/ 311944 w 1438275"/>
                <a:gd name="connsiteY195" fmla="*/ 1436317 h 1609725"/>
                <a:gd name="connsiteX196" fmla="*/ 278606 w 1438275"/>
                <a:gd name="connsiteY196" fmla="*/ 1480132 h 1609725"/>
                <a:gd name="connsiteX197" fmla="*/ 262414 w 1438275"/>
                <a:gd name="connsiteY197" fmla="*/ 1497277 h 1609725"/>
                <a:gd name="connsiteX198" fmla="*/ 230981 w 1438275"/>
                <a:gd name="connsiteY198" fmla="*/ 1543950 h 1609725"/>
                <a:gd name="connsiteX199" fmla="*/ 199549 w 1438275"/>
                <a:gd name="connsiteY199" fmla="*/ 1575382 h 1609725"/>
                <a:gd name="connsiteX200" fmla="*/ 175736 w 1438275"/>
                <a:gd name="connsiteY200" fmla="*/ 1600147 h 1609725"/>
                <a:gd name="connsiteX201" fmla="*/ 171926 w 1438275"/>
                <a:gd name="connsiteY201" fmla="*/ 1605862 h 1609725"/>
                <a:gd name="connsiteX202" fmla="*/ 86201 w 1438275"/>
                <a:gd name="connsiteY202" fmla="*/ 1591575 h 1609725"/>
                <a:gd name="connsiteX203" fmla="*/ 39529 w 1438275"/>
                <a:gd name="connsiteY203" fmla="*/ 1546807 h 1609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</a:cxnLst>
              <a:rect l="l" t="t" r="r" b="b"/>
              <a:pathLst>
                <a:path w="1438275" h="1609725">
                  <a:moveTo>
                    <a:pt x="711994" y="1292490"/>
                  </a:moveTo>
                  <a:cubicBezTo>
                    <a:pt x="705326" y="1292490"/>
                    <a:pt x="701516" y="1293442"/>
                    <a:pt x="698659" y="1293442"/>
                  </a:cubicBezTo>
                  <a:cubicBezTo>
                    <a:pt x="692944" y="1295347"/>
                    <a:pt x="685324" y="1300110"/>
                    <a:pt x="676751" y="1307730"/>
                  </a:cubicBezTo>
                  <a:cubicBezTo>
                    <a:pt x="665321" y="1320112"/>
                    <a:pt x="659606" y="1329637"/>
                    <a:pt x="659606" y="1337257"/>
                  </a:cubicBezTo>
                  <a:cubicBezTo>
                    <a:pt x="659606" y="1350592"/>
                    <a:pt x="674846" y="1366785"/>
                    <a:pt x="704374" y="1383930"/>
                  </a:cubicBezTo>
                  <a:cubicBezTo>
                    <a:pt x="733901" y="1402027"/>
                    <a:pt x="758666" y="1410600"/>
                    <a:pt x="779621" y="1409647"/>
                  </a:cubicBezTo>
                  <a:cubicBezTo>
                    <a:pt x="791051" y="1409647"/>
                    <a:pt x="812006" y="1402027"/>
                    <a:pt x="840581" y="1388692"/>
                  </a:cubicBezTo>
                  <a:cubicBezTo>
                    <a:pt x="870109" y="1374405"/>
                    <a:pt x="885349" y="1363927"/>
                    <a:pt x="887254" y="1358212"/>
                  </a:cubicBezTo>
                  <a:cubicBezTo>
                    <a:pt x="889159" y="1353450"/>
                    <a:pt x="871061" y="1342020"/>
                    <a:pt x="832961" y="1323922"/>
                  </a:cubicBezTo>
                  <a:cubicBezTo>
                    <a:pt x="794861" y="1305825"/>
                    <a:pt x="762476" y="1296300"/>
                    <a:pt x="735806" y="1294395"/>
                  </a:cubicBezTo>
                  <a:cubicBezTo>
                    <a:pt x="726281" y="1292490"/>
                    <a:pt x="718661" y="1292490"/>
                    <a:pt x="711994" y="1292490"/>
                  </a:cubicBezTo>
                  <a:lnTo>
                    <a:pt x="711994" y="1292490"/>
                  </a:lnTo>
                  <a:close/>
                  <a:moveTo>
                    <a:pt x="693896" y="720990"/>
                  </a:moveTo>
                  <a:cubicBezTo>
                    <a:pt x="691991" y="721942"/>
                    <a:pt x="689134" y="725752"/>
                    <a:pt x="686276" y="732420"/>
                  </a:cubicBezTo>
                  <a:cubicBezTo>
                    <a:pt x="683419" y="735277"/>
                    <a:pt x="681514" y="739087"/>
                    <a:pt x="679609" y="744802"/>
                  </a:cubicBezTo>
                  <a:cubicBezTo>
                    <a:pt x="668179" y="770520"/>
                    <a:pt x="663416" y="782902"/>
                    <a:pt x="667226" y="782902"/>
                  </a:cubicBezTo>
                  <a:cubicBezTo>
                    <a:pt x="670084" y="782902"/>
                    <a:pt x="671989" y="782902"/>
                    <a:pt x="675799" y="780997"/>
                  </a:cubicBezTo>
                  <a:cubicBezTo>
                    <a:pt x="681514" y="779092"/>
                    <a:pt x="688181" y="771472"/>
                    <a:pt x="692944" y="760042"/>
                  </a:cubicBezTo>
                  <a:cubicBezTo>
                    <a:pt x="698659" y="747660"/>
                    <a:pt x="699611" y="736230"/>
                    <a:pt x="697706" y="726705"/>
                  </a:cubicBezTo>
                  <a:cubicBezTo>
                    <a:pt x="697706" y="721942"/>
                    <a:pt x="695801" y="720037"/>
                    <a:pt x="693896" y="720990"/>
                  </a:cubicBezTo>
                  <a:lnTo>
                    <a:pt x="693896" y="720990"/>
                  </a:lnTo>
                  <a:close/>
                  <a:moveTo>
                    <a:pt x="976789" y="558112"/>
                  </a:moveTo>
                  <a:cubicBezTo>
                    <a:pt x="974884" y="558112"/>
                    <a:pt x="972026" y="559065"/>
                    <a:pt x="969169" y="561922"/>
                  </a:cubicBezTo>
                  <a:cubicBezTo>
                    <a:pt x="963454" y="567637"/>
                    <a:pt x="953929" y="580020"/>
                    <a:pt x="941546" y="599070"/>
                  </a:cubicBezTo>
                  <a:cubicBezTo>
                    <a:pt x="919639" y="633360"/>
                    <a:pt x="909161" y="653362"/>
                    <a:pt x="909161" y="657172"/>
                  </a:cubicBezTo>
                  <a:cubicBezTo>
                    <a:pt x="911066" y="660030"/>
                    <a:pt x="915829" y="660030"/>
                    <a:pt x="922496" y="660030"/>
                  </a:cubicBezTo>
                  <a:cubicBezTo>
                    <a:pt x="929164" y="660030"/>
                    <a:pt x="937736" y="658125"/>
                    <a:pt x="947261" y="656220"/>
                  </a:cubicBezTo>
                  <a:cubicBezTo>
                    <a:pt x="956786" y="653362"/>
                    <a:pt x="963454" y="650505"/>
                    <a:pt x="966311" y="647647"/>
                  </a:cubicBezTo>
                  <a:cubicBezTo>
                    <a:pt x="972026" y="643837"/>
                    <a:pt x="975836" y="629550"/>
                    <a:pt x="977741" y="605737"/>
                  </a:cubicBezTo>
                  <a:cubicBezTo>
                    <a:pt x="980599" y="584782"/>
                    <a:pt x="981551" y="569542"/>
                    <a:pt x="980599" y="562875"/>
                  </a:cubicBezTo>
                  <a:cubicBezTo>
                    <a:pt x="980599" y="560017"/>
                    <a:pt x="978694" y="558112"/>
                    <a:pt x="976789" y="558112"/>
                  </a:cubicBezTo>
                  <a:lnTo>
                    <a:pt x="976789" y="558112"/>
                  </a:lnTo>
                  <a:close/>
                  <a:moveTo>
                    <a:pt x="934879" y="556207"/>
                  </a:moveTo>
                  <a:cubicBezTo>
                    <a:pt x="930116" y="556207"/>
                    <a:pt x="919639" y="573352"/>
                    <a:pt x="901541" y="606690"/>
                  </a:cubicBezTo>
                  <a:cubicBezTo>
                    <a:pt x="883444" y="640027"/>
                    <a:pt x="875824" y="657172"/>
                    <a:pt x="879634" y="660030"/>
                  </a:cubicBezTo>
                  <a:cubicBezTo>
                    <a:pt x="879634" y="660982"/>
                    <a:pt x="880586" y="660982"/>
                    <a:pt x="882491" y="659077"/>
                  </a:cubicBezTo>
                  <a:cubicBezTo>
                    <a:pt x="884396" y="657172"/>
                    <a:pt x="885349" y="655267"/>
                    <a:pt x="887254" y="652410"/>
                  </a:cubicBezTo>
                  <a:cubicBezTo>
                    <a:pt x="889159" y="649552"/>
                    <a:pt x="891064" y="645742"/>
                    <a:pt x="893921" y="641932"/>
                  </a:cubicBezTo>
                  <a:cubicBezTo>
                    <a:pt x="896779" y="638122"/>
                    <a:pt x="899636" y="633360"/>
                    <a:pt x="901541" y="628597"/>
                  </a:cubicBezTo>
                  <a:cubicBezTo>
                    <a:pt x="904399" y="622882"/>
                    <a:pt x="907256" y="618120"/>
                    <a:pt x="910114" y="611452"/>
                  </a:cubicBezTo>
                  <a:cubicBezTo>
                    <a:pt x="915829" y="600975"/>
                    <a:pt x="919639" y="592402"/>
                    <a:pt x="923449" y="583830"/>
                  </a:cubicBezTo>
                  <a:cubicBezTo>
                    <a:pt x="927259" y="573352"/>
                    <a:pt x="931069" y="565732"/>
                    <a:pt x="934879" y="556207"/>
                  </a:cubicBezTo>
                  <a:lnTo>
                    <a:pt x="934879" y="556207"/>
                  </a:lnTo>
                  <a:close/>
                  <a:moveTo>
                    <a:pt x="943451" y="487627"/>
                  </a:moveTo>
                  <a:cubicBezTo>
                    <a:pt x="941546" y="485722"/>
                    <a:pt x="924401" y="491437"/>
                    <a:pt x="892016" y="503820"/>
                  </a:cubicBezTo>
                  <a:cubicBezTo>
                    <a:pt x="859631" y="516202"/>
                    <a:pt x="836771" y="525727"/>
                    <a:pt x="824389" y="533347"/>
                  </a:cubicBezTo>
                  <a:cubicBezTo>
                    <a:pt x="809149" y="540967"/>
                    <a:pt x="792004" y="559065"/>
                    <a:pt x="772954" y="585735"/>
                  </a:cubicBezTo>
                  <a:cubicBezTo>
                    <a:pt x="759619" y="604785"/>
                    <a:pt x="751999" y="618120"/>
                    <a:pt x="751999" y="624787"/>
                  </a:cubicBezTo>
                  <a:cubicBezTo>
                    <a:pt x="751999" y="631455"/>
                    <a:pt x="759619" y="635265"/>
                    <a:pt x="773906" y="636217"/>
                  </a:cubicBezTo>
                  <a:cubicBezTo>
                    <a:pt x="779621" y="636217"/>
                    <a:pt x="792956" y="640027"/>
                    <a:pt x="811054" y="648600"/>
                  </a:cubicBezTo>
                  <a:cubicBezTo>
                    <a:pt x="830104" y="656220"/>
                    <a:pt x="840581" y="660982"/>
                    <a:pt x="843439" y="661935"/>
                  </a:cubicBezTo>
                  <a:cubicBezTo>
                    <a:pt x="846296" y="661935"/>
                    <a:pt x="856774" y="646695"/>
                    <a:pt x="872966" y="615262"/>
                  </a:cubicBezTo>
                  <a:cubicBezTo>
                    <a:pt x="889159" y="583830"/>
                    <a:pt x="905351" y="554302"/>
                    <a:pt x="921544" y="529537"/>
                  </a:cubicBezTo>
                  <a:cubicBezTo>
                    <a:pt x="938689" y="502867"/>
                    <a:pt x="945356" y="489532"/>
                    <a:pt x="943451" y="487627"/>
                  </a:cubicBezTo>
                  <a:lnTo>
                    <a:pt x="943451" y="487627"/>
                  </a:lnTo>
                  <a:close/>
                  <a:moveTo>
                    <a:pt x="39529" y="1546807"/>
                  </a:moveTo>
                  <a:cubicBezTo>
                    <a:pt x="37624" y="1540140"/>
                    <a:pt x="35719" y="1532520"/>
                    <a:pt x="33814" y="1523947"/>
                  </a:cubicBezTo>
                  <a:cubicBezTo>
                    <a:pt x="28099" y="1500135"/>
                    <a:pt x="26194" y="1485847"/>
                    <a:pt x="28099" y="1480132"/>
                  </a:cubicBezTo>
                  <a:cubicBezTo>
                    <a:pt x="30004" y="1472512"/>
                    <a:pt x="27146" y="1465845"/>
                    <a:pt x="17621" y="1460130"/>
                  </a:cubicBezTo>
                  <a:cubicBezTo>
                    <a:pt x="11906" y="1455367"/>
                    <a:pt x="9049" y="1452510"/>
                    <a:pt x="8096" y="1449652"/>
                  </a:cubicBezTo>
                  <a:cubicBezTo>
                    <a:pt x="8096" y="1446795"/>
                    <a:pt x="10001" y="1442985"/>
                    <a:pt x="13811" y="1437270"/>
                  </a:cubicBezTo>
                  <a:cubicBezTo>
                    <a:pt x="18574" y="1430602"/>
                    <a:pt x="19526" y="1427745"/>
                    <a:pt x="15716" y="1428697"/>
                  </a:cubicBezTo>
                  <a:cubicBezTo>
                    <a:pt x="10001" y="1431555"/>
                    <a:pt x="7144" y="1431555"/>
                    <a:pt x="7144" y="1428697"/>
                  </a:cubicBezTo>
                  <a:cubicBezTo>
                    <a:pt x="7144" y="1423935"/>
                    <a:pt x="11906" y="1416315"/>
                    <a:pt x="21431" y="1404885"/>
                  </a:cubicBezTo>
                  <a:cubicBezTo>
                    <a:pt x="30956" y="1394407"/>
                    <a:pt x="38576" y="1388692"/>
                    <a:pt x="43339" y="1388692"/>
                  </a:cubicBezTo>
                  <a:cubicBezTo>
                    <a:pt x="46196" y="1388692"/>
                    <a:pt x="56674" y="1379167"/>
                    <a:pt x="75724" y="1360117"/>
                  </a:cubicBezTo>
                  <a:cubicBezTo>
                    <a:pt x="94774" y="1341067"/>
                    <a:pt x="103346" y="1330590"/>
                    <a:pt x="102394" y="1328685"/>
                  </a:cubicBezTo>
                  <a:cubicBezTo>
                    <a:pt x="102394" y="1327732"/>
                    <a:pt x="115729" y="1314397"/>
                    <a:pt x="143351" y="1289632"/>
                  </a:cubicBezTo>
                  <a:cubicBezTo>
                    <a:pt x="170974" y="1264867"/>
                    <a:pt x="184309" y="1255342"/>
                    <a:pt x="181451" y="1260105"/>
                  </a:cubicBezTo>
                  <a:cubicBezTo>
                    <a:pt x="176689" y="1274392"/>
                    <a:pt x="142399" y="1314397"/>
                    <a:pt x="79534" y="1380120"/>
                  </a:cubicBezTo>
                  <a:cubicBezTo>
                    <a:pt x="56674" y="1403932"/>
                    <a:pt x="47149" y="1415362"/>
                    <a:pt x="51911" y="1413457"/>
                  </a:cubicBezTo>
                  <a:cubicBezTo>
                    <a:pt x="65246" y="1406790"/>
                    <a:pt x="86201" y="1392502"/>
                    <a:pt x="111919" y="1368690"/>
                  </a:cubicBezTo>
                  <a:cubicBezTo>
                    <a:pt x="138589" y="1344877"/>
                    <a:pt x="151924" y="1331542"/>
                    <a:pt x="151924" y="1326780"/>
                  </a:cubicBezTo>
                  <a:cubicBezTo>
                    <a:pt x="151924" y="1323922"/>
                    <a:pt x="158591" y="1312492"/>
                    <a:pt x="173831" y="1294395"/>
                  </a:cubicBezTo>
                  <a:cubicBezTo>
                    <a:pt x="188119" y="1276297"/>
                    <a:pt x="200501" y="1262010"/>
                    <a:pt x="210979" y="1251532"/>
                  </a:cubicBezTo>
                  <a:cubicBezTo>
                    <a:pt x="222409" y="1241055"/>
                    <a:pt x="228124" y="1234387"/>
                    <a:pt x="228124" y="1229625"/>
                  </a:cubicBezTo>
                  <a:cubicBezTo>
                    <a:pt x="228124" y="1224862"/>
                    <a:pt x="236696" y="1214385"/>
                    <a:pt x="252889" y="1196287"/>
                  </a:cubicBezTo>
                  <a:cubicBezTo>
                    <a:pt x="280511" y="1168665"/>
                    <a:pt x="297656" y="1145805"/>
                    <a:pt x="303371" y="1129612"/>
                  </a:cubicBezTo>
                  <a:cubicBezTo>
                    <a:pt x="306229" y="1121040"/>
                    <a:pt x="309086" y="1116277"/>
                    <a:pt x="313849" y="1116277"/>
                  </a:cubicBezTo>
                  <a:cubicBezTo>
                    <a:pt x="318611" y="1116277"/>
                    <a:pt x="322421" y="1111515"/>
                    <a:pt x="325279" y="1101037"/>
                  </a:cubicBezTo>
                  <a:cubicBezTo>
                    <a:pt x="328136" y="1090560"/>
                    <a:pt x="332899" y="1085797"/>
                    <a:pt x="340519" y="1085797"/>
                  </a:cubicBezTo>
                  <a:cubicBezTo>
                    <a:pt x="348139" y="1085797"/>
                    <a:pt x="351949" y="1081035"/>
                    <a:pt x="351949" y="1072462"/>
                  </a:cubicBezTo>
                  <a:cubicBezTo>
                    <a:pt x="351949" y="1066747"/>
                    <a:pt x="361474" y="1049602"/>
                    <a:pt x="381476" y="1021027"/>
                  </a:cubicBezTo>
                  <a:cubicBezTo>
                    <a:pt x="400526" y="992452"/>
                    <a:pt x="418624" y="969592"/>
                    <a:pt x="434816" y="952447"/>
                  </a:cubicBezTo>
                  <a:cubicBezTo>
                    <a:pt x="441484" y="944827"/>
                    <a:pt x="451009" y="931492"/>
                    <a:pt x="463391" y="913395"/>
                  </a:cubicBezTo>
                  <a:cubicBezTo>
                    <a:pt x="475774" y="895297"/>
                    <a:pt x="523399" y="804810"/>
                    <a:pt x="540544" y="759090"/>
                  </a:cubicBezTo>
                  <a:cubicBezTo>
                    <a:pt x="541496" y="756232"/>
                    <a:pt x="543401" y="753375"/>
                    <a:pt x="544354" y="749565"/>
                  </a:cubicBezTo>
                  <a:lnTo>
                    <a:pt x="565309" y="699082"/>
                  </a:lnTo>
                  <a:cubicBezTo>
                    <a:pt x="575786" y="675270"/>
                    <a:pt x="587216" y="651457"/>
                    <a:pt x="599599" y="628597"/>
                  </a:cubicBezTo>
                  <a:cubicBezTo>
                    <a:pt x="621506" y="586687"/>
                    <a:pt x="631984" y="565732"/>
                    <a:pt x="630079" y="563827"/>
                  </a:cubicBezTo>
                  <a:cubicBezTo>
                    <a:pt x="628174" y="561922"/>
                    <a:pt x="613886" y="565732"/>
                    <a:pt x="587216" y="574305"/>
                  </a:cubicBezTo>
                  <a:cubicBezTo>
                    <a:pt x="479584" y="607642"/>
                    <a:pt x="417671" y="621930"/>
                    <a:pt x="400526" y="617167"/>
                  </a:cubicBezTo>
                  <a:cubicBezTo>
                    <a:pt x="391001" y="614310"/>
                    <a:pt x="383381" y="607642"/>
                    <a:pt x="376714" y="597165"/>
                  </a:cubicBezTo>
                  <a:cubicBezTo>
                    <a:pt x="371951" y="589545"/>
                    <a:pt x="370046" y="583830"/>
                    <a:pt x="370046" y="580020"/>
                  </a:cubicBezTo>
                  <a:cubicBezTo>
                    <a:pt x="370046" y="576210"/>
                    <a:pt x="371951" y="568590"/>
                    <a:pt x="376714" y="557160"/>
                  </a:cubicBezTo>
                  <a:cubicBezTo>
                    <a:pt x="389096" y="527632"/>
                    <a:pt x="411004" y="510487"/>
                    <a:pt x="441484" y="504772"/>
                  </a:cubicBezTo>
                  <a:cubicBezTo>
                    <a:pt x="458629" y="502867"/>
                    <a:pt x="478631" y="495247"/>
                    <a:pt x="500539" y="481912"/>
                  </a:cubicBezTo>
                  <a:cubicBezTo>
                    <a:pt x="536734" y="459052"/>
                    <a:pt x="583406" y="422857"/>
                    <a:pt x="641509" y="371422"/>
                  </a:cubicBezTo>
                  <a:cubicBezTo>
                    <a:pt x="699611" y="319987"/>
                    <a:pt x="738664" y="280935"/>
                    <a:pt x="758666" y="253312"/>
                  </a:cubicBezTo>
                  <a:cubicBezTo>
                    <a:pt x="769144" y="239025"/>
                    <a:pt x="774859" y="223785"/>
                    <a:pt x="774859" y="207592"/>
                  </a:cubicBezTo>
                  <a:cubicBezTo>
                    <a:pt x="774859" y="196162"/>
                    <a:pt x="772001" y="187590"/>
                    <a:pt x="768191" y="181875"/>
                  </a:cubicBezTo>
                  <a:cubicBezTo>
                    <a:pt x="763429" y="176160"/>
                    <a:pt x="751999" y="166635"/>
                    <a:pt x="732949" y="153300"/>
                  </a:cubicBezTo>
                  <a:cubicBezTo>
                    <a:pt x="651986" y="97102"/>
                    <a:pt x="611981" y="51382"/>
                    <a:pt x="611981" y="15187"/>
                  </a:cubicBezTo>
                  <a:cubicBezTo>
                    <a:pt x="611981" y="11377"/>
                    <a:pt x="615791" y="8520"/>
                    <a:pt x="624364" y="7567"/>
                  </a:cubicBezTo>
                  <a:cubicBezTo>
                    <a:pt x="628174" y="7567"/>
                    <a:pt x="634841" y="6615"/>
                    <a:pt x="643414" y="7567"/>
                  </a:cubicBezTo>
                  <a:lnTo>
                    <a:pt x="643414" y="7567"/>
                  </a:lnTo>
                  <a:cubicBezTo>
                    <a:pt x="651986" y="7567"/>
                    <a:pt x="663416" y="8520"/>
                    <a:pt x="677704" y="9472"/>
                  </a:cubicBezTo>
                  <a:cubicBezTo>
                    <a:pt x="775811" y="15187"/>
                    <a:pt x="842486" y="35190"/>
                    <a:pt x="878681" y="70432"/>
                  </a:cubicBezTo>
                  <a:cubicBezTo>
                    <a:pt x="891064" y="81862"/>
                    <a:pt x="898684" y="91387"/>
                    <a:pt x="900589" y="97102"/>
                  </a:cubicBezTo>
                  <a:cubicBezTo>
                    <a:pt x="902494" y="103770"/>
                    <a:pt x="903446" y="118057"/>
                    <a:pt x="903446" y="139965"/>
                  </a:cubicBezTo>
                  <a:cubicBezTo>
                    <a:pt x="903446" y="168540"/>
                    <a:pt x="900589" y="197115"/>
                    <a:pt x="894874" y="224737"/>
                  </a:cubicBezTo>
                  <a:cubicBezTo>
                    <a:pt x="892016" y="243787"/>
                    <a:pt x="888206" y="256170"/>
                    <a:pt x="884396" y="263790"/>
                  </a:cubicBezTo>
                  <a:cubicBezTo>
                    <a:pt x="880586" y="271410"/>
                    <a:pt x="872966" y="280935"/>
                    <a:pt x="861536" y="290460"/>
                  </a:cubicBezTo>
                  <a:cubicBezTo>
                    <a:pt x="843439" y="305700"/>
                    <a:pt x="814864" y="321892"/>
                    <a:pt x="775811" y="340942"/>
                  </a:cubicBezTo>
                  <a:cubicBezTo>
                    <a:pt x="751046" y="351420"/>
                    <a:pt x="715804" y="371422"/>
                    <a:pt x="668179" y="401902"/>
                  </a:cubicBezTo>
                  <a:cubicBezTo>
                    <a:pt x="620554" y="432382"/>
                    <a:pt x="597694" y="449527"/>
                    <a:pt x="597694" y="455242"/>
                  </a:cubicBezTo>
                  <a:cubicBezTo>
                    <a:pt x="601504" y="454290"/>
                    <a:pt x="606266" y="452385"/>
                    <a:pt x="610076" y="451432"/>
                  </a:cubicBezTo>
                  <a:cubicBezTo>
                    <a:pt x="613886" y="450480"/>
                    <a:pt x="618649" y="448575"/>
                    <a:pt x="622459" y="445717"/>
                  </a:cubicBezTo>
                  <a:cubicBezTo>
                    <a:pt x="639604" y="440002"/>
                    <a:pt x="663416" y="430477"/>
                    <a:pt x="695801" y="418095"/>
                  </a:cubicBezTo>
                  <a:cubicBezTo>
                    <a:pt x="749141" y="397140"/>
                    <a:pt x="814864" y="368565"/>
                    <a:pt x="894874" y="332370"/>
                  </a:cubicBezTo>
                  <a:cubicBezTo>
                    <a:pt x="940594" y="311415"/>
                    <a:pt x="975836" y="298080"/>
                    <a:pt x="1000601" y="293317"/>
                  </a:cubicBezTo>
                  <a:cubicBezTo>
                    <a:pt x="1025366" y="288555"/>
                    <a:pt x="1049179" y="290460"/>
                    <a:pt x="1071086" y="299032"/>
                  </a:cubicBezTo>
                  <a:cubicBezTo>
                    <a:pt x="1080611" y="302842"/>
                    <a:pt x="1091089" y="312367"/>
                    <a:pt x="1103471" y="328560"/>
                  </a:cubicBezTo>
                  <a:cubicBezTo>
                    <a:pt x="1114901" y="343800"/>
                    <a:pt x="1120616" y="356182"/>
                    <a:pt x="1120616" y="365707"/>
                  </a:cubicBezTo>
                  <a:cubicBezTo>
                    <a:pt x="1120616" y="376185"/>
                    <a:pt x="1113949" y="387615"/>
                    <a:pt x="1100614" y="399997"/>
                  </a:cubicBezTo>
                  <a:cubicBezTo>
                    <a:pt x="1087279" y="413332"/>
                    <a:pt x="1070134" y="424762"/>
                    <a:pt x="1049179" y="434287"/>
                  </a:cubicBezTo>
                  <a:cubicBezTo>
                    <a:pt x="1024414" y="445717"/>
                    <a:pt x="1012984" y="452385"/>
                    <a:pt x="1012984" y="455242"/>
                  </a:cubicBezTo>
                  <a:cubicBezTo>
                    <a:pt x="1012984" y="457147"/>
                    <a:pt x="1018699" y="457147"/>
                    <a:pt x="1030129" y="455242"/>
                  </a:cubicBezTo>
                  <a:cubicBezTo>
                    <a:pt x="1041559" y="453337"/>
                    <a:pt x="1054894" y="455242"/>
                    <a:pt x="1070134" y="460957"/>
                  </a:cubicBezTo>
                  <a:cubicBezTo>
                    <a:pt x="1085374" y="466672"/>
                    <a:pt x="1094899" y="473340"/>
                    <a:pt x="1099661" y="481912"/>
                  </a:cubicBezTo>
                  <a:cubicBezTo>
                    <a:pt x="1104424" y="490485"/>
                    <a:pt x="1107281" y="510487"/>
                    <a:pt x="1107281" y="542872"/>
                  </a:cubicBezTo>
                  <a:cubicBezTo>
                    <a:pt x="1107281" y="563827"/>
                    <a:pt x="1108234" y="577162"/>
                    <a:pt x="1110139" y="582877"/>
                  </a:cubicBezTo>
                  <a:cubicBezTo>
                    <a:pt x="1112044" y="587640"/>
                    <a:pt x="1116806" y="591450"/>
                    <a:pt x="1126331" y="595260"/>
                  </a:cubicBezTo>
                  <a:cubicBezTo>
                    <a:pt x="1138714" y="600022"/>
                    <a:pt x="1163479" y="604785"/>
                    <a:pt x="1199674" y="608595"/>
                  </a:cubicBezTo>
                  <a:cubicBezTo>
                    <a:pt x="1235869" y="612405"/>
                    <a:pt x="1257776" y="616215"/>
                    <a:pt x="1264444" y="618120"/>
                  </a:cubicBezTo>
                  <a:cubicBezTo>
                    <a:pt x="1272064" y="620025"/>
                    <a:pt x="1280636" y="634312"/>
                    <a:pt x="1290161" y="660030"/>
                  </a:cubicBezTo>
                  <a:lnTo>
                    <a:pt x="1304449" y="697177"/>
                  </a:lnTo>
                  <a:lnTo>
                    <a:pt x="1285399" y="712417"/>
                  </a:lnTo>
                  <a:cubicBezTo>
                    <a:pt x="1272064" y="721942"/>
                    <a:pt x="1253014" y="725752"/>
                    <a:pt x="1226344" y="725752"/>
                  </a:cubicBezTo>
                  <a:cubicBezTo>
                    <a:pt x="1207294" y="725752"/>
                    <a:pt x="1185386" y="729562"/>
                    <a:pt x="1159669" y="736230"/>
                  </a:cubicBezTo>
                  <a:cubicBezTo>
                    <a:pt x="1133951" y="742897"/>
                    <a:pt x="1121569" y="748612"/>
                    <a:pt x="1121569" y="754327"/>
                  </a:cubicBezTo>
                  <a:cubicBezTo>
                    <a:pt x="1121569" y="758137"/>
                    <a:pt x="1118711" y="760042"/>
                    <a:pt x="1112044" y="760042"/>
                  </a:cubicBezTo>
                  <a:cubicBezTo>
                    <a:pt x="1100614" y="760042"/>
                    <a:pt x="1090136" y="776235"/>
                    <a:pt x="1079659" y="807667"/>
                  </a:cubicBezTo>
                  <a:cubicBezTo>
                    <a:pt x="1073944" y="823860"/>
                    <a:pt x="1067276" y="853387"/>
                    <a:pt x="1058704" y="896250"/>
                  </a:cubicBezTo>
                  <a:cubicBezTo>
                    <a:pt x="1050131" y="939112"/>
                    <a:pt x="1046321" y="963877"/>
                    <a:pt x="1046321" y="972450"/>
                  </a:cubicBezTo>
                  <a:cubicBezTo>
                    <a:pt x="1046321" y="982927"/>
                    <a:pt x="1056799" y="1002930"/>
                    <a:pt x="1076801" y="1032457"/>
                  </a:cubicBezTo>
                  <a:cubicBezTo>
                    <a:pt x="1106329" y="1074367"/>
                    <a:pt x="1126331" y="1109610"/>
                    <a:pt x="1136809" y="1139137"/>
                  </a:cubicBezTo>
                  <a:cubicBezTo>
                    <a:pt x="1147286" y="1168665"/>
                    <a:pt x="1150144" y="1200097"/>
                    <a:pt x="1147286" y="1236292"/>
                  </a:cubicBezTo>
                  <a:cubicBezTo>
                    <a:pt x="1145381" y="1262010"/>
                    <a:pt x="1136809" y="1283917"/>
                    <a:pt x="1121569" y="1302015"/>
                  </a:cubicBezTo>
                  <a:cubicBezTo>
                    <a:pt x="1112044" y="1314397"/>
                    <a:pt x="1106329" y="1322970"/>
                    <a:pt x="1105376" y="1326780"/>
                  </a:cubicBezTo>
                  <a:cubicBezTo>
                    <a:pt x="1103471" y="1331542"/>
                    <a:pt x="1105376" y="1334400"/>
                    <a:pt x="1109186" y="1337257"/>
                  </a:cubicBezTo>
                  <a:cubicBezTo>
                    <a:pt x="1116806" y="1341067"/>
                    <a:pt x="1130141" y="1350592"/>
                    <a:pt x="1150144" y="1364880"/>
                  </a:cubicBezTo>
                  <a:cubicBezTo>
                    <a:pt x="1170146" y="1379167"/>
                    <a:pt x="1188244" y="1388692"/>
                    <a:pt x="1204436" y="1394407"/>
                  </a:cubicBezTo>
                  <a:cubicBezTo>
                    <a:pt x="1234916" y="1403932"/>
                    <a:pt x="1383506" y="1424887"/>
                    <a:pt x="1415891" y="1457272"/>
                  </a:cubicBezTo>
                  <a:cubicBezTo>
                    <a:pt x="1423511" y="1465845"/>
                    <a:pt x="1428274" y="1473465"/>
                    <a:pt x="1431131" y="1481085"/>
                  </a:cubicBezTo>
                  <a:cubicBezTo>
                    <a:pt x="1433036" y="1487752"/>
                    <a:pt x="1433989" y="1499182"/>
                    <a:pt x="1433989" y="1514422"/>
                  </a:cubicBezTo>
                  <a:cubicBezTo>
                    <a:pt x="1433989" y="1529662"/>
                    <a:pt x="1433036" y="1541092"/>
                    <a:pt x="1431131" y="1547760"/>
                  </a:cubicBezTo>
                  <a:cubicBezTo>
                    <a:pt x="1429226" y="1554427"/>
                    <a:pt x="1424464" y="1561095"/>
                    <a:pt x="1416844" y="1568715"/>
                  </a:cubicBezTo>
                  <a:cubicBezTo>
                    <a:pt x="1399699" y="1585860"/>
                    <a:pt x="1381601" y="1591575"/>
                    <a:pt x="1360646" y="1583955"/>
                  </a:cubicBezTo>
                  <a:cubicBezTo>
                    <a:pt x="1340644" y="1577287"/>
                    <a:pt x="1186339" y="1551570"/>
                    <a:pt x="1130141" y="1508707"/>
                  </a:cubicBezTo>
                  <a:cubicBezTo>
                    <a:pt x="1049179" y="1447747"/>
                    <a:pt x="1003459" y="1416315"/>
                    <a:pt x="992029" y="1416315"/>
                  </a:cubicBezTo>
                  <a:cubicBezTo>
                    <a:pt x="983456" y="1416315"/>
                    <a:pt x="959644" y="1426792"/>
                    <a:pt x="920591" y="1448700"/>
                  </a:cubicBezTo>
                  <a:cubicBezTo>
                    <a:pt x="888206" y="1465845"/>
                    <a:pt x="863441" y="1477275"/>
                    <a:pt x="847249" y="1482990"/>
                  </a:cubicBezTo>
                  <a:cubicBezTo>
                    <a:pt x="831056" y="1488705"/>
                    <a:pt x="812959" y="1490610"/>
                    <a:pt x="792956" y="1492515"/>
                  </a:cubicBezTo>
                  <a:cubicBezTo>
                    <a:pt x="770096" y="1494420"/>
                    <a:pt x="749141" y="1490610"/>
                    <a:pt x="731044" y="1482037"/>
                  </a:cubicBezTo>
                  <a:cubicBezTo>
                    <a:pt x="712946" y="1472512"/>
                    <a:pt x="685324" y="1452510"/>
                    <a:pt x="650081" y="1422030"/>
                  </a:cubicBezTo>
                  <a:cubicBezTo>
                    <a:pt x="590074" y="1373452"/>
                    <a:pt x="556736" y="1332495"/>
                    <a:pt x="550069" y="1300110"/>
                  </a:cubicBezTo>
                  <a:cubicBezTo>
                    <a:pt x="542449" y="1267725"/>
                    <a:pt x="560546" y="1242007"/>
                    <a:pt x="602456" y="1221052"/>
                  </a:cubicBezTo>
                  <a:cubicBezTo>
                    <a:pt x="616744" y="1214385"/>
                    <a:pt x="630079" y="1210575"/>
                    <a:pt x="640556" y="1209622"/>
                  </a:cubicBezTo>
                  <a:cubicBezTo>
                    <a:pt x="651034" y="1207717"/>
                    <a:pt x="671989" y="1208670"/>
                    <a:pt x="701516" y="1210575"/>
                  </a:cubicBezTo>
                  <a:cubicBezTo>
                    <a:pt x="767239" y="1214385"/>
                    <a:pt x="840581" y="1232482"/>
                    <a:pt x="921544" y="1263915"/>
                  </a:cubicBezTo>
                  <a:cubicBezTo>
                    <a:pt x="947261" y="1275345"/>
                    <a:pt x="964406" y="1281060"/>
                    <a:pt x="972979" y="1281060"/>
                  </a:cubicBezTo>
                  <a:cubicBezTo>
                    <a:pt x="982504" y="1281060"/>
                    <a:pt x="992029" y="1273440"/>
                    <a:pt x="1000601" y="1257247"/>
                  </a:cubicBezTo>
                  <a:cubicBezTo>
                    <a:pt x="1009174" y="1241055"/>
                    <a:pt x="1013936" y="1225815"/>
                    <a:pt x="1013936" y="1210575"/>
                  </a:cubicBezTo>
                  <a:cubicBezTo>
                    <a:pt x="1013936" y="1190572"/>
                    <a:pt x="1011079" y="1174380"/>
                    <a:pt x="1004411" y="1160092"/>
                  </a:cubicBezTo>
                  <a:cubicBezTo>
                    <a:pt x="998696" y="1146757"/>
                    <a:pt x="984409" y="1128660"/>
                    <a:pt x="963454" y="1105800"/>
                  </a:cubicBezTo>
                  <a:cubicBezTo>
                    <a:pt x="932974" y="1072462"/>
                    <a:pt x="914876" y="1041982"/>
                    <a:pt x="909161" y="1016265"/>
                  </a:cubicBezTo>
                  <a:cubicBezTo>
                    <a:pt x="903446" y="989595"/>
                    <a:pt x="908209" y="955305"/>
                    <a:pt x="923449" y="912442"/>
                  </a:cubicBezTo>
                  <a:cubicBezTo>
                    <a:pt x="938689" y="870532"/>
                    <a:pt x="941546" y="848625"/>
                    <a:pt x="932974" y="847672"/>
                  </a:cubicBezTo>
                  <a:cubicBezTo>
                    <a:pt x="927259" y="847672"/>
                    <a:pt x="916781" y="851482"/>
                    <a:pt x="899636" y="860055"/>
                  </a:cubicBezTo>
                  <a:cubicBezTo>
                    <a:pt x="873919" y="872437"/>
                    <a:pt x="858679" y="882915"/>
                    <a:pt x="853916" y="890535"/>
                  </a:cubicBezTo>
                  <a:cubicBezTo>
                    <a:pt x="848201" y="898155"/>
                    <a:pt x="844391" y="924825"/>
                    <a:pt x="842486" y="968640"/>
                  </a:cubicBezTo>
                  <a:cubicBezTo>
                    <a:pt x="839629" y="1016265"/>
                    <a:pt x="835819" y="1044840"/>
                    <a:pt x="832009" y="1052460"/>
                  </a:cubicBezTo>
                  <a:cubicBezTo>
                    <a:pt x="828199" y="1060080"/>
                    <a:pt x="815816" y="1066747"/>
                    <a:pt x="794861" y="1073415"/>
                  </a:cubicBezTo>
                  <a:cubicBezTo>
                    <a:pt x="766286" y="1081987"/>
                    <a:pt x="743426" y="1079130"/>
                    <a:pt x="728186" y="1067700"/>
                  </a:cubicBezTo>
                  <a:cubicBezTo>
                    <a:pt x="711994" y="1055317"/>
                    <a:pt x="700564" y="1030552"/>
                    <a:pt x="691991" y="992452"/>
                  </a:cubicBezTo>
                  <a:cubicBezTo>
                    <a:pt x="684371" y="961972"/>
                    <a:pt x="677704" y="946732"/>
                    <a:pt x="671036" y="946732"/>
                  </a:cubicBezTo>
                  <a:cubicBezTo>
                    <a:pt x="664369" y="946732"/>
                    <a:pt x="650081" y="951495"/>
                    <a:pt x="628174" y="960067"/>
                  </a:cubicBezTo>
                  <a:cubicBezTo>
                    <a:pt x="616744" y="964830"/>
                    <a:pt x="608171" y="968640"/>
                    <a:pt x="601504" y="973402"/>
                  </a:cubicBezTo>
                  <a:cubicBezTo>
                    <a:pt x="591026" y="988642"/>
                    <a:pt x="577691" y="1010550"/>
                    <a:pt x="560546" y="1039125"/>
                  </a:cubicBezTo>
                  <a:cubicBezTo>
                    <a:pt x="550069" y="1057222"/>
                    <a:pt x="542449" y="1067700"/>
                    <a:pt x="536734" y="1070557"/>
                  </a:cubicBezTo>
                  <a:cubicBezTo>
                    <a:pt x="531019" y="1073415"/>
                    <a:pt x="525304" y="1083892"/>
                    <a:pt x="517684" y="1099132"/>
                  </a:cubicBezTo>
                  <a:cubicBezTo>
                    <a:pt x="510064" y="1115325"/>
                    <a:pt x="499586" y="1132470"/>
                    <a:pt x="487204" y="1152472"/>
                  </a:cubicBezTo>
                  <a:cubicBezTo>
                    <a:pt x="454819" y="1203907"/>
                    <a:pt x="421481" y="1261057"/>
                    <a:pt x="387191" y="1325827"/>
                  </a:cubicBezTo>
                  <a:cubicBezTo>
                    <a:pt x="380524" y="1338210"/>
                    <a:pt x="369094" y="1353450"/>
                    <a:pt x="354806" y="1373452"/>
                  </a:cubicBezTo>
                  <a:cubicBezTo>
                    <a:pt x="339566" y="1393455"/>
                    <a:pt x="325279" y="1413457"/>
                    <a:pt x="311944" y="1436317"/>
                  </a:cubicBezTo>
                  <a:cubicBezTo>
                    <a:pt x="298609" y="1458225"/>
                    <a:pt x="287179" y="1473465"/>
                    <a:pt x="278606" y="1480132"/>
                  </a:cubicBezTo>
                  <a:cubicBezTo>
                    <a:pt x="270034" y="1487752"/>
                    <a:pt x="264319" y="1493467"/>
                    <a:pt x="262414" y="1497277"/>
                  </a:cubicBezTo>
                  <a:cubicBezTo>
                    <a:pt x="258604" y="1506802"/>
                    <a:pt x="249079" y="1522995"/>
                    <a:pt x="230981" y="1543950"/>
                  </a:cubicBezTo>
                  <a:cubicBezTo>
                    <a:pt x="213836" y="1564905"/>
                    <a:pt x="203359" y="1575382"/>
                    <a:pt x="199549" y="1575382"/>
                  </a:cubicBezTo>
                  <a:cubicBezTo>
                    <a:pt x="193834" y="1575382"/>
                    <a:pt x="186214" y="1583955"/>
                    <a:pt x="175736" y="1600147"/>
                  </a:cubicBezTo>
                  <a:cubicBezTo>
                    <a:pt x="174784" y="1602052"/>
                    <a:pt x="172879" y="1603957"/>
                    <a:pt x="171926" y="1605862"/>
                  </a:cubicBezTo>
                  <a:lnTo>
                    <a:pt x="86201" y="1591575"/>
                  </a:lnTo>
                  <a:lnTo>
                    <a:pt x="39529" y="1546807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7" name="任意多边形: 形状 26"/>
            <p:cNvSpPr/>
            <p:nvPr/>
          </p:nvSpPr>
          <p:spPr>
            <a:xfrm>
              <a:off x="8647581" y="722743"/>
              <a:ext cx="2600325" cy="1809750"/>
            </a:xfrm>
            <a:custGeom>
              <a:avLst/>
              <a:gdLst>
                <a:gd name="connsiteX0" fmla="*/ 994168 w 2600325"/>
                <a:gd name="connsiteY0" fmla="*/ 1018699 h 1809750"/>
                <a:gd name="connsiteX1" fmla="*/ 982738 w 2600325"/>
                <a:gd name="connsiteY1" fmla="*/ 1028224 h 1809750"/>
                <a:gd name="connsiteX2" fmla="*/ 953210 w 2600325"/>
                <a:gd name="connsiteY2" fmla="*/ 1047274 h 1809750"/>
                <a:gd name="connsiteX3" fmla="*/ 903680 w 2600325"/>
                <a:gd name="connsiteY3" fmla="*/ 1048226 h 1809750"/>
                <a:gd name="connsiteX4" fmla="*/ 869390 w 2600325"/>
                <a:gd name="connsiteY4" fmla="*/ 1047274 h 1809750"/>
                <a:gd name="connsiteX5" fmla="*/ 842720 w 2600325"/>
                <a:gd name="connsiteY5" fmla="*/ 1052989 h 1809750"/>
                <a:gd name="connsiteX6" fmla="*/ 811288 w 2600325"/>
                <a:gd name="connsiteY6" fmla="*/ 1061561 h 1809750"/>
                <a:gd name="connsiteX7" fmla="*/ 807478 w 2600325"/>
                <a:gd name="connsiteY7" fmla="*/ 1092041 h 1809750"/>
                <a:gd name="connsiteX8" fmla="*/ 837005 w 2600325"/>
                <a:gd name="connsiteY8" fmla="*/ 1113949 h 1809750"/>
                <a:gd name="connsiteX9" fmla="*/ 871295 w 2600325"/>
                <a:gd name="connsiteY9" fmla="*/ 1152049 h 1809750"/>
                <a:gd name="connsiteX10" fmla="*/ 885583 w 2600325"/>
                <a:gd name="connsiteY10" fmla="*/ 1200626 h 1809750"/>
                <a:gd name="connsiteX11" fmla="*/ 896060 w 2600325"/>
                <a:gd name="connsiteY11" fmla="*/ 1224439 h 1809750"/>
                <a:gd name="connsiteX12" fmla="*/ 913205 w 2600325"/>
                <a:gd name="connsiteY12" fmla="*/ 1238726 h 1809750"/>
                <a:gd name="connsiteX13" fmla="*/ 935113 w 2600325"/>
                <a:gd name="connsiteY13" fmla="*/ 1252061 h 1809750"/>
                <a:gd name="connsiteX14" fmla="*/ 972260 w 2600325"/>
                <a:gd name="connsiteY14" fmla="*/ 1274921 h 1809750"/>
                <a:gd name="connsiteX15" fmla="*/ 1001788 w 2600325"/>
                <a:gd name="connsiteY15" fmla="*/ 1284446 h 1809750"/>
                <a:gd name="connsiteX16" fmla="*/ 1008455 w 2600325"/>
                <a:gd name="connsiteY16" fmla="*/ 1237774 h 1809750"/>
                <a:gd name="connsiteX17" fmla="*/ 1016075 w 2600325"/>
                <a:gd name="connsiteY17" fmla="*/ 1187291 h 1809750"/>
                <a:gd name="connsiteX18" fmla="*/ 1011313 w 2600325"/>
                <a:gd name="connsiteY18" fmla="*/ 1175861 h 1809750"/>
                <a:gd name="connsiteX19" fmla="*/ 1003693 w 2600325"/>
                <a:gd name="connsiteY19" fmla="*/ 1113949 h 1809750"/>
                <a:gd name="connsiteX20" fmla="*/ 1001788 w 2600325"/>
                <a:gd name="connsiteY20" fmla="*/ 1035844 h 1809750"/>
                <a:gd name="connsiteX21" fmla="*/ 994168 w 2600325"/>
                <a:gd name="connsiteY21" fmla="*/ 1018699 h 1809750"/>
                <a:gd name="connsiteX22" fmla="*/ 994168 w 2600325"/>
                <a:gd name="connsiteY22" fmla="*/ 1018699 h 1809750"/>
                <a:gd name="connsiteX23" fmla="*/ 754138 w 2600325"/>
                <a:gd name="connsiteY23" fmla="*/ 897731 h 1809750"/>
                <a:gd name="connsiteX24" fmla="*/ 741755 w 2600325"/>
                <a:gd name="connsiteY24" fmla="*/ 903446 h 1809750"/>
                <a:gd name="connsiteX25" fmla="*/ 716038 w 2600325"/>
                <a:gd name="connsiteY25" fmla="*/ 947261 h 1809750"/>
                <a:gd name="connsiteX26" fmla="*/ 700798 w 2600325"/>
                <a:gd name="connsiteY26" fmla="*/ 984409 h 1809750"/>
                <a:gd name="connsiteX27" fmla="*/ 704608 w 2600325"/>
                <a:gd name="connsiteY27" fmla="*/ 1013936 h 1809750"/>
                <a:gd name="connsiteX28" fmla="*/ 720800 w 2600325"/>
                <a:gd name="connsiteY28" fmla="*/ 1043464 h 1809750"/>
                <a:gd name="connsiteX29" fmla="*/ 771283 w 2600325"/>
                <a:gd name="connsiteY29" fmla="*/ 1020604 h 1809750"/>
                <a:gd name="connsiteX30" fmla="*/ 825575 w 2600325"/>
                <a:gd name="connsiteY30" fmla="*/ 976789 h 1809750"/>
                <a:gd name="connsiteX31" fmla="*/ 830338 w 2600325"/>
                <a:gd name="connsiteY31" fmla="*/ 956786 h 1809750"/>
                <a:gd name="connsiteX32" fmla="*/ 807478 w 2600325"/>
                <a:gd name="connsiteY32" fmla="*/ 928211 h 1809750"/>
                <a:gd name="connsiteX33" fmla="*/ 754138 w 2600325"/>
                <a:gd name="connsiteY33" fmla="*/ 897731 h 1809750"/>
                <a:gd name="connsiteX34" fmla="*/ 754138 w 2600325"/>
                <a:gd name="connsiteY34" fmla="*/ 897731 h 1809750"/>
                <a:gd name="connsiteX35" fmla="*/ 508393 w 2600325"/>
                <a:gd name="connsiteY35" fmla="*/ 863441 h 1809750"/>
                <a:gd name="connsiteX36" fmla="*/ 500773 w 2600325"/>
                <a:gd name="connsiteY36" fmla="*/ 870109 h 1809750"/>
                <a:gd name="connsiteX37" fmla="*/ 513155 w 2600325"/>
                <a:gd name="connsiteY37" fmla="*/ 876776 h 1809750"/>
                <a:gd name="connsiteX38" fmla="*/ 520775 w 2600325"/>
                <a:gd name="connsiteY38" fmla="*/ 870109 h 1809750"/>
                <a:gd name="connsiteX39" fmla="*/ 508393 w 2600325"/>
                <a:gd name="connsiteY39" fmla="*/ 863441 h 1809750"/>
                <a:gd name="connsiteX40" fmla="*/ 508393 w 2600325"/>
                <a:gd name="connsiteY40" fmla="*/ 863441 h 1809750"/>
                <a:gd name="connsiteX41" fmla="*/ 2120023 w 2600325"/>
                <a:gd name="connsiteY41" fmla="*/ 812006 h 1809750"/>
                <a:gd name="connsiteX42" fmla="*/ 2114308 w 2600325"/>
                <a:gd name="connsiteY42" fmla="*/ 830104 h 1809750"/>
                <a:gd name="connsiteX43" fmla="*/ 2124785 w 2600325"/>
                <a:gd name="connsiteY43" fmla="*/ 849154 h 1809750"/>
                <a:gd name="connsiteX44" fmla="*/ 2131453 w 2600325"/>
                <a:gd name="connsiteY44" fmla="*/ 823436 h 1809750"/>
                <a:gd name="connsiteX45" fmla="*/ 2120023 w 2600325"/>
                <a:gd name="connsiteY45" fmla="*/ 812006 h 1809750"/>
                <a:gd name="connsiteX46" fmla="*/ 2120023 w 2600325"/>
                <a:gd name="connsiteY46" fmla="*/ 812006 h 1809750"/>
                <a:gd name="connsiteX47" fmla="*/ 766520 w 2600325"/>
                <a:gd name="connsiteY47" fmla="*/ 361474 h 1809750"/>
                <a:gd name="connsiteX48" fmla="*/ 716990 w 2600325"/>
                <a:gd name="connsiteY48" fmla="*/ 366236 h 1809750"/>
                <a:gd name="connsiteX49" fmla="*/ 639838 w 2600325"/>
                <a:gd name="connsiteY49" fmla="*/ 376714 h 1809750"/>
                <a:gd name="connsiteX50" fmla="*/ 559828 w 2600325"/>
                <a:gd name="connsiteY50" fmla="*/ 386239 h 1809750"/>
                <a:gd name="connsiteX51" fmla="*/ 497915 w 2600325"/>
                <a:gd name="connsiteY51" fmla="*/ 391954 h 1809750"/>
                <a:gd name="connsiteX52" fmla="*/ 455053 w 2600325"/>
                <a:gd name="connsiteY52" fmla="*/ 400526 h 1809750"/>
                <a:gd name="connsiteX53" fmla="*/ 404570 w 2600325"/>
                <a:gd name="connsiteY53" fmla="*/ 418624 h 1809750"/>
                <a:gd name="connsiteX54" fmla="*/ 269315 w 2600325"/>
                <a:gd name="connsiteY54" fmla="*/ 415766 h 1809750"/>
                <a:gd name="connsiteX55" fmla="*/ 181685 w 2600325"/>
                <a:gd name="connsiteY55" fmla="*/ 894874 h 1809750"/>
                <a:gd name="connsiteX56" fmla="*/ 168350 w 2600325"/>
                <a:gd name="connsiteY56" fmla="*/ 1328261 h 1809750"/>
                <a:gd name="connsiteX57" fmla="*/ 173113 w 2600325"/>
                <a:gd name="connsiteY57" fmla="*/ 1384459 h 1809750"/>
                <a:gd name="connsiteX58" fmla="*/ 227405 w 2600325"/>
                <a:gd name="connsiteY58" fmla="*/ 1390174 h 1809750"/>
                <a:gd name="connsiteX59" fmla="*/ 432193 w 2600325"/>
                <a:gd name="connsiteY59" fmla="*/ 1347311 h 1809750"/>
                <a:gd name="connsiteX60" fmla="*/ 663650 w 2600325"/>
                <a:gd name="connsiteY60" fmla="*/ 1291114 h 1809750"/>
                <a:gd name="connsiteX61" fmla="*/ 662698 w 2600325"/>
                <a:gd name="connsiteY61" fmla="*/ 1286351 h 1809750"/>
                <a:gd name="connsiteX62" fmla="*/ 665555 w 2600325"/>
                <a:gd name="connsiteY62" fmla="*/ 1279684 h 1809750"/>
                <a:gd name="connsiteX63" fmla="*/ 680795 w 2600325"/>
                <a:gd name="connsiteY63" fmla="*/ 1273016 h 1809750"/>
                <a:gd name="connsiteX64" fmla="*/ 708418 w 2600325"/>
                <a:gd name="connsiteY64" fmla="*/ 1265396 h 1809750"/>
                <a:gd name="connsiteX65" fmla="*/ 748423 w 2600325"/>
                <a:gd name="connsiteY65" fmla="*/ 1256824 h 1809750"/>
                <a:gd name="connsiteX66" fmla="*/ 768425 w 2600325"/>
                <a:gd name="connsiteY66" fmla="*/ 1248251 h 1809750"/>
                <a:gd name="connsiteX67" fmla="*/ 754138 w 2600325"/>
                <a:gd name="connsiteY67" fmla="*/ 1229201 h 1809750"/>
                <a:gd name="connsiteX68" fmla="*/ 731278 w 2600325"/>
                <a:gd name="connsiteY68" fmla="*/ 1220629 h 1809750"/>
                <a:gd name="connsiteX69" fmla="*/ 676985 w 2600325"/>
                <a:gd name="connsiteY69" fmla="*/ 1226344 h 1809750"/>
                <a:gd name="connsiteX70" fmla="*/ 591260 w 2600325"/>
                <a:gd name="connsiteY70" fmla="*/ 1236821 h 1809750"/>
                <a:gd name="connsiteX71" fmla="*/ 556018 w 2600325"/>
                <a:gd name="connsiteY71" fmla="*/ 1245394 h 1809750"/>
                <a:gd name="connsiteX72" fmla="*/ 522680 w 2600325"/>
                <a:gd name="connsiteY72" fmla="*/ 1253966 h 1809750"/>
                <a:gd name="connsiteX73" fmla="*/ 463625 w 2600325"/>
                <a:gd name="connsiteY73" fmla="*/ 1272064 h 1809750"/>
                <a:gd name="connsiteX74" fmla="*/ 414095 w 2600325"/>
                <a:gd name="connsiteY74" fmla="*/ 1285399 h 1809750"/>
                <a:gd name="connsiteX75" fmla="*/ 350278 w 2600325"/>
                <a:gd name="connsiteY75" fmla="*/ 1175861 h 1809750"/>
                <a:gd name="connsiteX76" fmla="*/ 342658 w 2600325"/>
                <a:gd name="connsiteY76" fmla="*/ 1144429 h 1809750"/>
                <a:gd name="connsiteX77" fmla="*/ 358850 w 2600325"/>
                <a:gd name="connsiteY77" fmla="*/ 1106329 h 1809750"/>
                <a:gd name="connsiteX78" fmla="*/ 394093 w 2600325"/>
                <a:gd name="connsiteY78" fmla="*/ 1064419 h 1809750"/>
                <a:gd name="connsiteX79" fmla="*/ 455053 w 2600325"/>
                <a:gd name="connsiteY79" fmla="*/ 992981 h 1809750"/>
                <a:gd name="connsiteX80" fmla="*/ 459815 w 2600325"/>
                <a:gd name="connsiteY80" fmla="*/ 976789 h 1809750"/>
                <a:gd name="connsiteX81" fmla="*/ 447433 w 2600325"/>
                <a:gd name="connsiteY81" fmla="*/ 956786 h 1809750"/>
                <a:gd name="connsiteX82" fmla="*/ 414095 w 2600325"/>
                <a:gd name="connsiteY82" fmla="*/ 932021 h 1809750"/>
                <a:gd name="connsiteX83" fmla="*/ 327418 w 2600325"/>
                <a:gd name="connsiteY83" fmla="*/ 906304 h 1809750"/>
                <a:gd name="connsiteX84" fmla="*/ 306463 w 2600325"/>
                <a:gd name="connsiteY84" fmla="*/ 876776 h 1809750"/>
                <a:gd name="connsiteX85" fmla="*/ 366470 w 2600325"/>
                <a:gd name="connsiteY85" fmla="*/ 802481 h 1809750"/>
                <a:gd name="connsiteX86" fmla="*/ 484580 w 2600325"/>
                <a:gd name="connsiteY86" fmla="*/ 738664 h 1809750"/>
                <a:gd name="connsiteX87" fmla="*/ 546493 w 2600325"/>
                <a:gd name="connsiteY87" fmla="*/ 711994 h 1809750"/>
                <a:gd name="connsiteX88" fmla="*/ 558875 w 2600325"/>
                <a:gd name="connsiteY88" fmla="*/ 665321 h 1809750"/>
                <a:gd name="connsiteX89" fmla="*/ 558875 w 2600325"/>
                <a:gd name="connsiteY89" fmla="*/ 623411 h 1809750"/>
                <a:gd name="connsiteX90" fmla="*/ 497915 w 2600325"/>
                <a:gd name="connsiteY90" fmla="*/ 625316 h 1809750"/>
                <a:gd name="connsiteX91" fmla="*/ 440765 w 2600325"/>
                <a:gd name="connsiteY91" fmla="*/ 622459 h 1809750"/>
                <a:gd name="connsiteX92" fmla="*/ 405523 w 2600325"/>
                <a:gd name="connsiteY92" fmla="*/ 601504 h 1809750"/>
                <a:gd name="connsiteX93" fmla="*/ 335990 w 2600325"/>
                <a:gd name="connsiteY93" fmla="*/ 528161 h 1809750"/>
                <a:gd name="connsiteX94" fmla="*/ 375043 w 2600325"/>
                <a:gd name="connsiteY94" fmla="*/ 523399 h 1809750"/>
                <a:gd name="connsiteX95" fmla="*/ 511250 w 2600325"/>
                <a:gd name="connsiteY95" fmla="*/ 479584 h 1809750"/>
                <a:gd name="connsiteX96" fmla="*/ 634123 w 2600325"/>
                <a:gd name="connsiteY96" fmla="*/ 472916 h 1809750"/>
                <a:gd name="connsiteX97" fmla="*/ 724610 w 2600325"/>
                <a:gd name="connsiteY97" fmla="*/ 552926 h 1809750"/>
                <a:gd name="connsiteX98" fmla="*/ 742708 w 2600325"/>
                <a:gd name="connsiteY98" fmla="*/ 586264 h 1809750"/>
                <a:gd name="connsiteX99" fmla="*/ 722705 w 2600325"/>
                <a:gd name="connsiteY99" fmla="*/ 624364 h 1809750"/>
                <a:gd name="connsiteX100" fmla="*/ 700798 w 2600325"/>
                <a:gd name="connsiteY100" fmla="*/ 695801 h 1809750"/>
                <a:gd name="connsiteX101" fmla="*/ 704608 w 2600325"/>
                <a:gd name="connsiteY101" fmla="*/ 725329 h 1809750"/>
                <a:gd name="connsiteX102" fmla="*/ 726515 w 2600325"/>
                <a:gd name="connsiteY102" fmla="*/ 743426 h 1809750"/>
                <a:gd name="connsiteX103" fmla="*/ 790333 w 2600325"/>
                <a:gd name="connsiteY103" fmla="*/ 836771 h 1809750"/>
                <a:gd name="connsiteX104" fmla="*/ 805573 w 2600325"/>
                <a:gd name="connsiteY104" fmla="*/ 856774 h 1809750"/>
                <a:gd name="connsiteX105" fmla="*/ 848435 w 2600325"/>
                <a:gd name="connsiteY105" fmla="*/ 872966 h 1809750"/>
                <a:gd name="connsiteX106" fmla="*/ 928445 w 2600325"/>
                <a:gd name="connsiteY106" fmla="*/ 903446 h 1809750"/>
                <a:gd name="connsiteX107" fmla="*/ 969403 w 2600325"/>
                <a:gd name="connsiteY107" fmla="*/ 946309 h 1809750"/>
                <a:gd name="connsiteX108" fmla="*/ 997025 w 2600325"/>
                <a:gd name="connsiteY108" fmla="*/ 983456 h 1809750"/>
                <a:gd name="connsiteX109" fmla="*/ 1000835 w 2600325"/>
                <a:gd name="connsiteY109" fmla="*/ 919639 h 1809750"/>
                <a:gd name="connsiteX110" fmla="*/ 997025 w 2600325"/>
                <a:gd name="connsiteY110" fmla="*/ 792956 h 1809750"/>
                <a:gd name="connsiteX111" fmla="*/ 989405 w 2600325"/>
                <a:gd name="connsiteY111" fmla="*/ 707231 h 1809750"/>
                <a:gd name="connsiteX112" fmla="*/ 984643 w 2600325"/>
                <a:gd name="connsiteY112" fmla="*/ 656749 h 1809750"/>
                <a:gd name="connsiteX113" fmla="*/ 979880 w 2600325"/>
                <a:gd name="connsiteY113" fmla="*/ 620554 h 1809750"/>
                <a:gd name="connsiteX114" fmla="*/ 968450 w 2600325"/>
                <a:gd name="connsiteY114" fmla="*/ 534829 h 1809750"/>
                <a:gd name="connsiteX115" fmla="*/ 950353 w 2600325"/>
                <a:gd name="connsiteY115" fmla="*/ 431006 h 1809750"/>
                <a:gd name="connsiteX116" fmla="*/ 917015 w 2600325"/>
                <a:gd name="connsiteY116" fmla="*/ 381476 h 1809750"/>
                <a:gd name="connsiteX117" fmla="*/ 901775 w 2600325"/>
                <a:gd name="connsiteY117" fmla="*/ 371951 h 1809750"/>
                <a:gd name="connsiteX118" fmla="*/ 830338 w 2600325"/>
                <a:gd name="connsiteY118" fmla="*/ 361474 h 1809750"/>
                <a:gd name="connsiteX119" fmla="*/ 766520 w 2600325"/>
                <a:gd name="connsiteY119" fmla="*/ 361474 h 1809750"/>
                <a:gd name="connsiteX120" fmla="*/ 766520 w 2600325"/>
                <a:gd name="connsiteY120" fmla="*/ 361474 h 1809750"/>
                <a:gd name="connsiteX121" fmla="*/ 801763 w 2600325"/>
                <a:gd name="connsiteY121" fmla="*/ 195739 h 1809750"/>
                <a:gd name="connsiteX122" fmla="*/ 846530 w 2600325"/>
                <a:gd name="connsiteY122" fmla="*/ 195739 h 1809750"/>
                <a:gd name="connsiteX123" fmla="*/ 932255 w 2600325"/>
                <a:gd name="connsiteY123" fmla="*/ 207169 h 1809750"/>
                <a:gd name="connsiteX124" fmla="*/ 992263 w 2600325"/>
                <a:gd name="connsiteY124" fmla="*/ 235744 h 1809750"/>
                <a:gd name="connsiteX125" fmla="*/ 1066558 w 2600325"/>
                <a:gd name="connsiteY125" fmla="*/ 277654 h 1809750"/>
                <a:gd name="connsiteX126" fmla="*/ 1148473 w 2600325"/>
                <a:gd name="connsiteY126" fmla="*/ 328136 h 1809750"/>
                <a:gd name="connsiteX127" fmla="*/ 1197050 w 2600325"/>
                <a:gd name="connsiteY127" fmla="*/ 386239 h 1809750"/>
                <a:gd name="connsiteX128" fmla="*/ 1222768 w 2600325"/>
                <a:gd name="connsiteY128" fmla="*/ 464344 h 1809750"/>
                <a:gd name="connsiteX129" fmla="*/ 1217053 w 2600325"/>
                <a:gd name="connsiteY129" fmla="*/ 512921 h 1809750"/>
                <a:gd name="connsiteX130" fmla="*/ 1209433 w 2600325"/>
                <a:gd name="connsiteY130" fmla="*/ 575786 h 1809750"/>
                <a:gd name="connsiteX131" fmla="*/ 1205623 w 2600325"/>
                <a:gd name="connsiteY131" fmla="*/ 679609 h 1809750"/>
                <a:gd name="connsiteX132" fmla="*/ 1203718 w 2600325"/>
                <a:gd name="connsiteY132" fmla="*/ 835819 h 1809750"/>
                <a:gd name="connsiteX133" fmla="*/ 1198003 w 2600325"/>
                <a:gd name="connsiteY133" fmla="*/ 1125379 h 1809750"/>
                <a:gd name="connsiteX134" fmla="*/ 1201813 w 2600325"/>
                <a:gd name="connsiteY134" fmla="*/ 1293971 h 1809750"/>
                <a:gd name="connsiteX135" fmla="*/ 854150 w 2600325"/>
                <a:gd name="connsiteY135" fmla="*/ 1385411 h 1809750"/>
                <a:gd name="connsiteX136" fmla="*/ 790333 w 2600325"/>
                <a:gd name="connsiteY136" fmla="*/ 1393984 h 1809750"/>
                <a:gd name="connsiteX137" fmla="*/ 694130 w 2600325"/>
                <a:gd name="connsiteY137" fmla="*/ 1405414 h 1809750"/>
                <a:gd name="connsiteX138" fmla="*/ 655078 w 2600325"/>
                <a:gd name="connsiteY138" fmla="*/ 1413986 h 1809750"/>
                <a:gd name="connsiteX139" fmla="*/ 621740 w 2600325"/>
                <a:gd name="connsiteY139" fmla="*/ 1424464 h 1809750"/>
                <a:gd name="connsiteX140" fmla="*/ 346468 w 2600325"/>
                <a:gd name="connsiteY140" fmla="*/ 1461611 h 1809750"/>
                <a:gd name="connsiteX141" fmla="*/ 227405 w 2600325"/>
                <a:gd name="connsiteY141" fmla="*/ 1455896 h 1809750"/>
                <a:gd name="connsiteX142" fmla="*/ 197878 w 2600325"/>
                <a:gd name="connsiteY142" fmla="*/ 1446371 h 1809750"/>
                <a:gd name="connsiteX143" fmla="*/ 197878 w 2600325"/>
                <a:gd name="connsiteY143" fmla="*/ 1469231 h 1809750"/>
                <a:gd name="connsiteX144" fmla="*/ 175970 w 2600325"/>
                <a:gd name="connsiteY144" fmla="*/ 1500664 h 1809750"/>
                <a:gd name="connsiteX145" fmla="*/ 144538 w 2600325"/>
                <a:gd name="connsiteY145" fmla="*/ 1493996 h 1809750"/>
                <a:gd name="connsiteX146" fmla="*/ 114058 w 2600325"/>
                <a:gd name="connsiteY146" fmla="*/ 1482566 h 1809750"/>
                <a:gd name="connsiteX147" fmla="*/ 73100 w 2600325"/>
                <a:gd name="connsiteY147" fmla="*/ 1432084 h 1809750"/>
                <a:gd name="connsiteX148" fmla="*/ 31190 w 2600325"/>
                <a:gd name="connsiteY148" fmla="*/ 1350169 h 1809750"/>
                <a:gd name="connsiteX149" fmla="*/ 14045 w 2600325"/>
                <a:gd name="connsiteY149" fmla="*/ 1281589 h 1809750"/>
                <a:gd name="connsiteX150" fmla="*/ 7378 w 2600325"/>
                <a:gd name="connsiteY150" fmla="*/ 1177766 h 1809750"/>
                <a:gd name="connsiteX151" fmla="*/ 23570 w 2600325"/>
                <a:gd name="connsiteY151" fmla="*/ 1011079 h 1809750"/>
                <a:gd name="connsiteX152" fmla="*/ 35000 w 2600325"/>
                <a:gd name="connsiteY152" fmla="*/ 895826 h 1809750"/>
                <a:gd name="connsiteX153" fmla="*/ 102628 w 2600325"/>
                <a:gd name="connsiteY153" fmla="*/ 374809 h 1809750"/>
                <a:gd name="connsiteX154" fmla="*/ 140728 w 2600325"/>
                <a:gd name="connsiteY154" fmla="*/ 365284 h 1809750"/>
                <a:gd name="connsiteX155" fmla="*/ 143585 w 2600325"/>
                <a:gd name="connsiteY155" fmla="*/ 363379 h 1809750"/>
                <a:gd name="connsiteX156" fmla="*/ 151205 w 2600325"/>
                <a:gd name="connsiteY156" fmla="*/ 347186 h 1809750"/>
                <a:gd name="connsiteX157" fmla="*/ 154063 w 2600325"/>
                <a:gd name="connsiteY157" fmla="*/ 337661 h 1809750"/>
                <a:gd name="connsiteX158" fmla="*/ 350278 w 2600325"/>
                <a:gd name="connsiteY158" fmla="*/ 297656 h 1809750"/>
                <a:gd name="connsiteX159" fmla="*/ 496010 w 2600325"/>
                <a:gd name="connsiteY159" fmla="*/ 253841 h 1809750"/>
                <a:gd name="connsiteX160" fmla="*/ 575068 w 2600325"/>
                <a:gd name="connsiteY160" fmla="*/ 237649 h 1809750"/>
                <a:gd name="connsiteX161" fmla="*/ 667460 w 2600325"/>
                <a:gd name="connsiteY161" fmla="*/ 216694 h 1809750"/>
                <a:gd name="connsiteX162" fmla="*/ 739850 w 2600325"/>
                <a:gd name="connsiteY162" fmla="*/ 203359 h 1809750"/>
                <a:gd name="connsiteX163" fmla="*/ 779855 w 2600325"/>
                <a:gd name="connsiteY163" fmla="*/ 200501 h 1809750"/>
                <a:gd name="connsiteX164" fmla="*/ 801763 w 2600325"/>
                <a:gd name="connsiteY164" fmla="*/ 195739 h 1809750"/>
                <a:gd name="connsiteX165" fmla="*/ 801763 w 2600325"/>
                <a:gd name="connsiteY165" fmla="*/ 195739 h 1809750"/>
                <a:gd name="connsiteX166" fmla="*/ 1737118 w 2600325"/>
                <a:gd name="connsiteY166" fmla="*/ 13811 h 1809750"/>
                <a:gd name="connsiteX167" fmla="*/ 1775218 w 2600325"/>
                <a:gd name="connsiteY167" fmla="*/ 15716 h 1809750"/>
                <a:gd name="connsiteX168" fmla="*/ 1998103 w 2600325"/>
                <a:gd name="connsiteY168" fmla="*/ 83344 h 1809750"/>
                <a:gd name="connsiteX169" fmla="*/ 2022868 w 2600325"/>
                <a:gd name="connsiteY169" fmla="*/ 112871 h 1809750"/>
                <a:gd name="connsiteX170" fmla="*/ 2026678 w 2600325"/>
                <a:gd name="connsiteY170" fmla="*/ 159544 h 1809750"/>
                <a:gd name="connsiteX171" fmla="*/ 2018105 w 2600325"/>
                <a:gd name="connsiteY171" fmla="*/ 252889 h 1809750"/>
                <a:gd name="connsiteX172" fmla="*/ 2006675 w 2600325"/>
                <a:gd name="connsiteY172" fmla="*/ 296704 h 1809750"/>
                <a:gd name="connsiteX173" fmla="*/ 1980958 w 2600325"/>
                <a:gd name="connsiteY173" fmla="*/ 326231 h 1809750"/>
                <a:gd name="connsiteX174" fmla="*/ 1885708 w 2600325"/>
                <a:gd name="connsiteY174" fmla="*/ 382429 h 1809750"/>
                <a:gd name="connsiteX175" fmla="*/ 1766645 w 2600325"/>
                <a:gd name="connsiteY175" fmla="*/ 449104 h 1809750"/>
                <a:gd name="connsiteX176" fmla="*/ 1688540 w 2600325"/>
                <a:gd name="connsiteY176" fmla="*/ 508159 h 1809750"/>
                <a:gd name="connsiteX177" fmla="*/ 1702828 w 2600325"/>
                <a:gd name="connsiteY177" fmla="*/ 503396 h 1809750"/>
                <a:gd name="connsiteX178" fmla="*/ 1717115 w 2600325"/>
                <a:gd name="connsiteY178" fmla="*/ 497681 h 1809750"/>
                <a:gd name="connsiteX179" fmla="*/ 1798078 w 2600325"/>
                <a:gd name="connsiteY179" fmla="*/ 467201 h 1809750"/>
                <a:gd name="connsiteX180" fmla="*/ 2019058 w 2600325"/>
                <a:gd name="connsiteY180" fmla="*/ 371951 h 1809750"/>
                <a:gd name="connsiteX181" fmla="*/ 2136215 w 2600325"/>
                <a:gd name="connsiteY181" fmla="*/ 328136 h 1809750"/>
                <a:gd name="connsiteX182" fmla="*/ 2214320 w 2600325"/>
                <a:gd name="connsiteY182" fmla="*/ 333851 h 1809750"/>
                <a:gd name="connsiteX183" fmla="*/ 2249563 w 2600325"/>
                <a:gd name="connsiteY183" fmla="*/ 366236 h 1809750"/>
                <a:gd name="connsiteX184" fmla="*/ 2268613 w 2600325"/>
                <a:gd name="connsiteY184" fmla="*/ 407194 h 1809750"/>
                <a:gd name="connsiteX185" fmla="*/ 2246706 w 2600325"/>
                <a:gd name="connsiteY185" fmla="*/ 445294 h 1809750"/>
                <a:gd name="connsiteX186" fmla="*/ 2189556 w 2600325"/>
                <a:gd name="connsiteY186" fmla="*/ 483394 h 1809750"/>
                <a:gd name="connsiteX187" fmla="*/ 1858085 w 2600325"/>
                <a:gd name="connsiteY187" fmla="*/ 611029 h 1809750"/>
                <a:gd name="connsiteX188" fmla="*/ 1699018 w 2600325"/>
                <a:gd name="connsiteY188" fmla="*/ 1009174 h 1809750"/>
                <a:gd name="connsiteX189" fmla="*/ 1743785 w 2600325"/>
                <a:gd name="connsiteY189" fmla="*/ 983456 h 1809750"/>
                <a:gd name="connsiteX190" fmla="*/ 1933333 w 2600325"/>
                <a:gd name="connsiteY190" fmla="*/ 917734 h 1809750"/>
                <a:gd name="connsiteX191" fmla="*/ 1977148 w 2600325"/>
                <a:gd name="connsiteY191" fmla="*/ 894874 h 1809750"/>
                <a:gd name="connsiteX192" fmla="*/ 1993340 w 2600325"/>
                <a:gd name="connsiteY192" fmla="*/ 854869 h 1809750"/>
                <a:gd name="connsiteX193" fmla="*/ 2018105 w 2600325"/>
                <a:gd name="connsiteY193" fmla="*/ 743426 h 1809750"/>
                <a:gd name="connsiteX194" fmla="*/ 2034298 w 2600325"/>
                <a:gd name="connsiteY194" fmla="*/ 638651 h 1809750"/>
                <a:gd name="connsiteX195" fmla="*/ 2052395 w 2600325"/>
                <a:gd name="connsiteY195" fmla="*/ 616744 h 1809750"/>
                <a:gd name="connsiteX196" fmla="*/ 2083828 w 2600325"/>
                <a:gd name="connsiteY196" fmla="*/ 604361 h 1809750"/>
                <a:gd name="connsiteX197" fmla="*/ 2103831 w 2600325"/>
                <a:gd name="connsiteY197" fmla="*/ 609124 h 1809750"/>
                <a:gd name="connsiteX198" fmla="*/ 2117165 w 2600325"/>
                <a:gd name="connsiteY198" fmla="*/ 634841 h 1809750"/>
                <a:gd name="connsiteX199" fmla="*/ 2136215 w 2600325"/>
                <a:gd name="connsiteY199" fmla="*/ 701516 h 1809750"/>
                <a:gd name="connsiteX200" fmla="*/ 2167648 w 2600325"/>
                <a:gd name="connsiteY200" fmla="*/ 768191 h 1809750"/>
                <a:gd name="connsiteX201" fmla="*/ 2249563 w 2600325"/>
                <a:gd name="connsiteY201" fmla="*/ 808196 h 1809750"/>
                <a:gd name="connsiteX202" fmla="*/ 2311475 w 2600325"/>
                <a:gd name="connsiteY202" fmla="*/ 845344 h 1809750"/>
                <a:gd name="connsiteX203" fmla="*/ 2356243 w 2600325"/>
                <a:gd name="connsiteY203" fmla="*/ 882491 h 1809750"/>
                <a:gd name="connsiteX204" fmla="*/ 2375293 w 2600325"/>
                <a:gd name="connsiteY204" fmla="*/ 897731 h 1809750"/>
                <a:gd name="connsiteX205" fmla="*/ 2368625 w 2600325"/>
                <a:gd name="connsiteY205" fmla="*/ 911066 h 1809750"/>
                <a:gd name="connsiteX206" fmla="*/ 2296235 w 2600325"/>
                <a:gd name="connsiteY206" fmla="*/ 940594 h 1809750"/>
                <a:gd name="connsiteX207" fmla="*/ 2108593 w 2600325"/>
                <a:gd name="connsiteY207" fmla="*/ 993934 h 1809750"/>
                <a:gd name="connsiteX208" fmla="*/ 2100973 w 2600325"/>
                <a:gd name="connsiteY208" fmla="*/ 1015841 h 1809750"/>
                <a:gd name="connsiteX209" fmla="*/ 2114308 w 2600325"/>
                <a:gd name="connsiteY209" fmla="*/ 1034891 h 1809750"/>
                <a:gd name="connsiteX210" fmla="*/ 2197175 w 2600325"/>
                <a:gd name="connsiteY210" fmla="*/ 1105376 h 1809750"/>
                <a:gd name="connsiteX211" fmla="*/ 2269565 w 2600325"/>
                <a:gd name="connsiteY211" fmla="*/ 1164431 h 1809750"/>
                <a:gd name="connsiteX212" fmla="*/ 2348623 w 2600325"/>
                <a:gd name="connsiteY212" fmla="*/ 1208246 h 1809750"/>
                <a:gd name="connsiteX213" fmla="*/ 2465781 w 2600325"/>
                <a:gd name="connsiteY213" fmla="*/ 1279684 h 1809750"/>
                <a:gd name="connsiteX214" fmla="*/ 2533408 w 2600325"/>
                <a:gd name="connsiteY214" fmla="*/ 1347311 h 1809750"/>
                <a:gd name="connsiteX215" fmla="*/ 2557220 w 2600325"/>
                <a:gd name="connsiteY215" fmla="*/ 1381601 h 1809750"/>
                <a:gd name="connsiteX216" fmla="*/ 2581033 w 2600325"/>
                <a:gd name="connsiteY216" fmla="*/ 1428274 h 1809750"/>
                <a:gd name="connsiteX217" fmla="*/ 2594368 w 2600325"/>
                <a:gd name="connsiteY217" fmla="*/ 1486376 h 1809750"/>
                <a:gd name="connsiteX218" fmla="*/ 2556268 w 2600325"/>
                <a:gd name="connsiteY218" fmla="*/ 1548289 h 1809750"/>
                <a:gd name="connsiteX219" fmla="*/ 2413393 w 2600325"/>
                <a:gd name="connsiteY219" fmla="*/ 1501616 h 1809750"/>
                <a:gd name="connsiteX220" fmla="*/ 2381960 w 2600325"/>
                <a:gd name="connsiteY220" fmla="*/ 1466374 h 1809750"/>
                <a:gd name="connsiteX221" fmla="*/ 2271470 w 2600325"/>
                <a:gd name="connsiteY221" fmla="*/ 1346359 h 1809750"/>
                <a:gd name="connsiteX222" fmla="*/ 2205748 w 2600325"/>
                <a:gd name="connsiteY222" fmla="*/ 1256824 h 1809750"/>
                <a:gd name="connsiteX223" fmla="*/ 2131453 w 2600325"/>
                <a:gd name="connsiteY223" fmla="*/ 1137761 h 1809750"/>
                <a:gd name="connsiteX224" fmla="*/ 2108593 w 2600325"/>
                <a:gd name="connsiteY224" fmla="*/ 1093946 h 1809750"/>
                <a:gd name="connsiteX225" fmla="*/ 2087638 w 2600325"/>
                <a:gd name="connsiteY225" fmla="*/ 1072039 h 1809750"/>
                <a:gd name="connsiteX226" fmla="*/ 2073350 w 2600325"/>
                <a:gd name="connsiteY226" fmla="*/ 1114901 h 1809750"/>
                <a:gd name="connsiteX227" fmla="*/ 2019058 w 2600325"/>
                <a:gd name="connsiteY227" fmla="*/ 1288256 h 1809750"/>
                <a:gd name="connsiteX228" fmla="*/ 1951430 w 2600325"/>
                <a:gd name="connsiteY228" fmla="*/ 1437799 h 1809750"/>
                <a:gd name="connsiteX229" fmla="*/ 1914283 w 2600325"/>
                <a:gd name="connsiteY229" fmla="*/ 1483519 h 1809750"/>
                <a:gd name="connsiteX230" fmla="*/ 1857133 w 2600325"/>
                <a:gd name="connsiteY230" fmla="*/ 1514951 h 1809750"/>
                <a:gd name="connsiteX231" fmla="*/ 1795220 w 2600325"/>
                <a:gd name="connsiteY231" fmla="*/ 1542574 h 1809750"/>
                <a:gd name="connsiteX232" fmla="*/ 1757120 w 2600325"/>
                <a:gd name="connsiteY232" fmla="*/ 1528286 h 1809750"/>
                <a:gd name="connsiteX233" fmla="*/ 1719020 w 2600325"/>
                <a:gd name="connsiteY233" fmla="*/ 1506379 h 1809750"/>
                <a:gd name="connsiteX234" fmla="*/ 1744738 w 2600325"/>
                <a:gd name="connsiteY234" fmla="*/ 1486376 h 1809750"/>
                <a:gd name="connsiteX235" fmla="*/ 1875230 w 2600325"/>
                <a:gd name="connsiteY235" fmla="*/ 1306354 h 1809750"/>
                <a:gd name="connsiteX236" fmla="*/ 1919045 w 2600325"/>
                <a:gd name="connsiteY236" fmla="*/ 1195864 h 1809750"/>
                <a:gd name="connsiteX237" fmla="*/ 1942858 w 2600325"/>
                <a:gd name="connsiteY237" fmla="*/ 1112044 h 1809750"/>
                <a:gd name="connsiteX238" fmla="*/ 1941905 w 2600325"/>
                <a:gd name="connsiteY238" fmla="*/ 1078706 h 1809750"/>
                <a:gd name="connsiteX239" fmla="*/ 1912378 w 2600325"/>
                <a:gd name="connsiteY239" fmla="*/ 1093946 h 1809750"/>
                <a:gd name="connsiteX240" fmla="*/ 1866658 w 2600325"/>
                <a:gd name="connsiteY240" fmla="*/ 1108234 h 1809750"/>
                <a:gd name="connsiteX241" fmla="*/ 1776170 w 2600325"/>
                <a:gd name="connsiteY241" fmla="*/ 1104424 h 1809750"/>
                <a:gd name="connsiteX242" fmla="*/ 1678063 w 2600325"/>
                <a:gd name="connsiteY242" fmla="*/ 1059656 h 1809750"/>
                <a:gd name="connsiteX243" fmla="*/ 1641868 w 2600325"/>
                <a:gd name="connsiteY243" fmla="*/ 1149191 h 1809750"/>
                <a:gd name="connsiteX244" fmla="*/ 1616150 w 2600325"/>
                <a:gd name="connsiteY244" fmla="*/ 1184434 h 1809750"/>
                <a:gd name="connsiteX245" fmla="*/ 1595195 w 2600325"/>
                <a:gd name="connsiteY245" fmla="*/ 1215866 h 1809750"/>
                <a:gd name="connsiteX246" fmla="*/ 1561858 w 2600325"/>
                <a:gd name="connsiteY246" fmla="*/ 1274921 h 1809750"/>
                <a:gd name="connsiteX247" fmla="*/ 1451368 w 2600325"/>
                <a:gd name="connsiteY247" fmla="*/ 1467326 h 1809750"/>
                <a:gd name="connsiteX248" fmla="*/ 1415173 w 2600325"/>
                <a:gd name="connsiteY248" fmla="*/ 1519714 h 1809750"/>
                <a:gd name="connsiteX249" fmla="*/ 1367548 w 2600325"/>
                <a:gd name="connsiteY249" fmla="*/ 1589246 h 1809750"/>
                <a:gd name="connsiteX250" fmla="*/ 1330400 w 2600325"/>
                <a:gd name="connsiteY250" fmla="*/ 1637824 h 1809750"/>
                <a:gd name="connsiteX251" fmla="*/ 1312303 w 2600325"/>
                <a:gd name="connsiteY251" fmla="*/ 1656874 h 1809750"/>
                <a:gd name="connsiteX252" fmla="*/ 1278013 w 2600325"/>
                <a:gd name="connsiteY252" fmla="*/ 1708309 h 1809750"/>
                <a:gd name="connsiteX253" fmla="*/ 1243723 w 2600325"/>
                <a:gd name="connsiteY253" fmla="*/ 1743551 h 1809750"/>
                <a:gd name="connsiteX254" fmla="*/ 1218005 w 2600325"/>
                <a:gd name="connsiteY254" fmla="*/ 1771174 h 1809750"/>
                <a:gd name="connsiteX255" fmla="*/ 1188478 w 2600325"/>
                <a:gd name="connsiteY255" fmla="*/ 1799749 h 1809750"/>
                <a:gd name="connsiteX256" fmla="*/ 1142758 w 2600325"/>
                <a:gd name="connsiteY256" fmla="*/ 1804511 h 1809750"/>
                <a:gd name="connsiteX257" fmla="*/ 1126565 w 2600325"/>
                <a:gd name="connsiteY257" fmla="*/ 1807369 h 1809750"/>
                <a:gd name="connsiteX258" fmla="*/ 1117993 w 2600325"/>
                <a:gd name="connsiteY258" fmla="*/ 1807369 h 1809750"/>
                <a:gd name="connsiteX259" fmla="*/ 1115135 w 2600325"/>
                <a:gd name="connsiteY259" fmla="*/ 1803559 h 1809750"/>
                <a:gd name="connsiteX260" fmla="*/ 1116088 w 2600325"/>
                <a:gd name="connsiteY260" fmla="*/ 1794986 h 1809750"/>
                <a:gd name="connsiteX261" fmla="*/ 1117993 w 2600325"/>
                <a:gd name="connsiteY261" fmla="*/ 1785461 h 1809750"/>
                <a:gd name="connsiteX262" fmla="*/ 1112278 w 2600325"/>
                <a:gd name="connsiteY262" fmla="*/ 1787366 h 1809750"/>
                <a:gd name="connsiteX263" fmla="*/ 1097990 w 2600325"/>
                <a:gd name="connsiteY263" fmla="*/ 1777841 h 1809750"/>
                <a:gd name="connsiteX264" fmla="*/ 1083703 w 2600325"/>
                <a:gd name="connsiteY264" fmla="*/ 1746409 h 1809750"/>
                <a:gd name="connsiteX265" fmla="*/ 1064653 w 2600325"/>
                <a:gd name="connsiteY265" fmla="*/ 1688306 h 1809750"/>
                <a:gd name="connsiteX266" fmla="*/ 1058938 w 2600325"/>
                <a:gd name="connsiteY266" fmla="*/ 1639729 h 1809750"/>
                <a:gd name="connsiteX267" fmla="*/ 1047508 w 2600325"/>
                <a:gd name="connsiteY267" fmla="*/ 1617821 h 1809750"/>
                <a:gd name="connsiteX268" fmla="*/ 1037030 w 2600325"/>
                <a:gd name="connsiteY268" fmla="*/ 1605439 h 1809750"/>
                <a:gd name="connsiteX269" fmla="*/ 1043698 w 2600325"/>
                <a:gd name="connsiteY269" fmla="*/ 1591151 h 1809750"/>
                <a:gd name="connsiteX270" fmla="*/ 1045603 w 2600325"/>
                <a:gd name="connsiteY270" fmla="*/ 1581626 h 1809750"/>
                <a:gd name="connsiteX271" fmla="*/ 1036078 w 2600325"/>
                <a:gd name="connsiteY271" fmla="*/ 1581626 h 1809750"/>
                <a:gd name="connsiteX272" fmla="*/ 1052270 w 2600325"/>
                <a:gd name="connsiteY272" fmla="*/ 1555909 h 1809750"/>
                <a:gd name="connsiteX273" fmla="*/ 1076083 w 2600325"/>
                <a:gd name="connsiteY273" fmla="*/ 1537811 h 1809750"/>
                <a:gd name="connsiteX274" fmla="*/ 1111325 w 2600325"/>
                <a:gd name="connsiteY274" fmla="*/ 1506379 h 1809750"/>
                <a:gd name="connsiteX275" fmla="*/ 1140853 w 2600325"/>
                <a:gd name="connsiteY275" fmla="*/ 1471136 h 1809750"/>
                <a:gd name="connsiteX276" fmla="*/ 1186573 w 2600325"/>
                <a:gd name="connsiteY276" fmla="*/ 1427321 h 1809750"/>
                <a:gd name="connsiteX277" fmla="*/ 1228483 w 2600325"/>
                <a:gd name="connsiteY277" fmla="*/ 1394936 h 1809750"/>
                <a:gd name="connsiteX278" fmla="*/ 1115135 w 2600325"/>
                <a:gd name="connsiteY278" fmla="*/ 1528286 h 1809750"/>
                <a:gd name="connsiteX279" fmla="*/ 1084655 w 2600325"/>
                <a:gd name="connsiteY279" fmla="*/ 1565434 h 1809750"/>
                <a:gd name="connsiteX280" fmla="*/ 1151330 w 2600325"/>
                <a:gd name="connsiteY280" fmla="*/ 1515904 h 1809750"/>
                <a:gd name="connsiteX281" fmla="*/ 1195145 w 2600325"/>
                <a:gd name="connsiteY281" fmla="*/ 1470184 h 1809750"/>
                <a:gd name="connsiteX282" fmla="*/ 1218958 w 2600325"/>
                <a:gd name="connsiteY282" fmla="*/ 1433989 h 1809750"/>
                <a:gd name="connsiteX283" fmla="*/ 1259915 w 2600325"/>
                <a:gd name="connsiteY283" fmla="*/ 1387316 h 1809750"/>
                <a:gd name="connsiteX284" fmla="*/ 1278965 w 2600325"/>
                <a:gd name="connsiteY284" fmla="*/ 1363504 h 1809750"/>
                <a:gd name="connsiteX285" fmla="*/ 1305635 w 2600325"/>
                <a:gd name="connsiteY285" fmla="*/ 1326356 h 1809750"/>
                <a:gd name="connsiteX286" fmla="*/ 1360880 w 2600325"/>
                <a:gd name="connsiteY286" fmla="*/ 1252061 h 1809750"/>
                <a:gd name="connsiteX287" fmla="*/ 1372310 w 2600325"/>
                <a:gd name="connsiteY287" fmla="*/ 1236821 h 1809750"/>
                <a:gd name="connsiteX288" fmla="*/ 1384693 w 2600325"/>
                <a:gd name="connsiteY288" fmla="*/ 1220629 h 1809750"/>
                <a:gd name="connsiteX289" fmla="*/ 1401838 w 2600325"/>
                <a:gd name="connsiteY289" fmla="*/ 1204436 h 1809750"/>
                <a:gd name="connsiteX290" fmla="*/ 1414220 w 2600325"/>
                <a:gd name="connsiteY290" fmla="*/ 1189196 h 1809750"/>
                <a:gd name="connsiteX291" fmla="*/ 1446605 w 2600325"/>
                <a:gd name="connsiteY291" fmla="*/ 1132046 h 1809750"/>
                <a:gd name="connsiteX292" fmla="*/ 1505660 w 2600325"/>
                <a:gd name="connsiteY292" fmla="*/ 1056799 h 1809750"/>
                <a:gd name="connsiteX293" fmla="*/ 1537093 w 2600325"/>
                <a:gd name="connsiteY293" fmla="*/ 1012984 h 1809750"/>
                <a:gd name="connsiteX294" fmla="*/ 1622818 w 2600325"/>
                <a:gd name="connsiteY294" fmla="*/ 842486 h 1809750"/>
                <a:gd name="connsiteX295" fmla="*/ 1626628 w 2600325"/>
                <a:gd name="connsiteY295" fmla="*/ 832009 h 1809750"/>
                <a:gd name="connsiteX296" fmla="*/ 1650440 w 2600325"/>
                <a:gd name="connsiteY296" fmla="*/ 775811 h 1809750"/>
                <a:gd name="connsiteX297" fmla="*/ 1688540 w 2600325"/>
                <a:gd name="connsiteY297" fmla="*/ 697706 h 1809750"/>
                <a:gd name="connsiteX298" fmla="*/ 1721878 w 2600325"/>
                <a:gd name="connsiteY298" fmla="*/ 626269 h 1809750"/>
                <a:gd name="connsiteX299" fmla="*/ 1674253 w 2600325"/>
                <a:gd name="connsiteY299" fmla="*/ 637699 h 1809750"/>
                <a:gd name="connsiteX300" fmla="*/ 1467560 w 2600325"/>
                <a:gd name="connsiteY300" fmla="*/ 685324 h 1809750"/>
                <a:gd name="connsiteX301" fmla="*/ 1440890 w 2600325"/>
                <a:gd name="connsiteY301" fmla="*/ 663416 h 1809750"/>
                <a:gd name="connsiteX302" fmla="*/ 1433270 w 2600325"/>
                <a:gd name="connsiteY302" fmla="*/ 644366 h 1809750"/>
                <a:gd name="connsiteX303" fmla="*/ 1440890 w 2600325"/>
                <a:gd name="connsiteY303" fmla="*/ 618649 h 1809750"/>
                <a:gd name="connsiteX304" fmla="*/ 1513280 w 2600325"/>
                <a:gd name="connsiteY304" fmla="*/ 560546 h 1809750"/>
                <a:gd name="connsiteX305" fmla="*/ 1579003 w 2600325"/>
                <a:gd name="connsiteY305" fmla="*/ 534829 h 1809750"/>
                <a:gd name="connsiteX306" fmla="*/ 1735213 w 2600325"/>
                <a:gd name="connsiteY306" fmla="*/ 411956 h 1809750"/>
                <a:gd name="connsiteX307" fmla="*/ 1864753 w 2600325"/>
                <a:gd name="connsiteY307" fmla="*/ 280511 h 1809750"/>
                <a:gd name="connsiteX308" fmla="*/ 1881898 w 2600325"/>
                <a:gd name="connsiteY308" fmla="*/ 229076 h 1809750"/>
                <a:gd name="connsiteX309" fmla="*/ 1874278 w 2600325"/>
                <a:gd name="connsiteY309" fmla="*/ 200501 h 1809750"/>
                <a:gd name="connsiteX310" fmla="*/ 1835225 w 2600325"/>
                <a:gd name="connsiteY310" fmla="*/ 169069 h 1809750"/>
                <a:gd name="connsiteX311" fmla="*/ 1700923 w 2600325"/>
                <a:gd name="connsiteY311" fmla="*/ 15716 h 1809750"/>
                <a:gd name="connsiteX312" fmla="*/ 1714258 w 2600325"/>
                <a:gd name="connsiteY312" fmla="*/ 7144 h 1809750"/>
                <a:gd name="connsiteX313" fmla="*/ 1737118 w 2600325"/>
                <a:gd name="connsiteY313" fmla="*/ 13811 h 1809750"/>
                <a:gd name="connsiteX314" fmla="*/ 1737118 w 2600325"/>
                <a:gd name="connsiteY314" fmla="*/ 13811 h 1809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</a:cxnLst>
              <a:rect l="l" t="t" r="r" b="b"/>
              <a:pathLst>
                <a:path w="2600325" h="1809750">
                  <a:moveTo>
                    <a:pt x="994168" y="1018699"/>
                  </a:moveTo>
                  <a:cubicBezTo>
                    <a:pt x="991310" y="1016794"/>
                    <a:pt x="987500" y="1019651"/>
                    <a:pt x="982738" y="1028224"/>
                  </a:cubicBezTo>
                  <a:cubicBezTo>
                    <a:pt x="977975" y="1033939"/>
                    <a:pt x="968450" y="1040606"/>
                    <a:pt x="953210" y="1047274"/>
                  </a:cubicBezTo>
                  <a:cubicBezTo>
                    <a:pt x="938923" y="1054894"/>
                    <a:pt x="921778" y="1054894"/>
                    <a:pt x="903680" y="1048226"/>
                  </a:cubicBezTo>
                  <a:cubicBezTo>
                    <a:pt x="885583" y="1041559"/>
                    <a:pt x="874153" y="1040606"/>
                    <a:pt x="869390" y="1047274"/>
                  </a:cubicBezTo>
                  <a:cubicBezTo>
                    <a:pt x="865580" y="1053941"/>
                    <a:pt x="856055" y="1054894"/>
                    <a:pt x="842720" y="1052989"/>
                  </a:cubicBezTo>
                  <a:cubicBezTo>
                    <a:pt x="829385" y="1051084"/>
                    <a:pt x="818908" y="1053941"/>
                    <a:pt x="811288" y="1061561"/>
                  </a:cubicBezTo>
                  <a:cubicBezTo>
                    <a:pt x="802715" y="1070134"/>
                    <a:pt x="801763" y="1080611"/>
                    <a:pt x="807478" y="1092041"/>
                  </a:cubicBezTo>
                  <a:cubicBezTo>
                    <a:pt x="813193" y="1103471"/>
                    <a:pt x="822718" y="1111091"/>
                    <a:pt x="837005" y="1113949"/>
                  </a:cubicBezTo>
                  <a:cubicBezTo>
                    <a:pt x="850340" y="1115854"/>
                    <a:pt x="861770" y="1129189"/>
                    <a:pt x="871295" y="1152049"/>
                  </a:cubicBezTo>
                  <a:cubicBezTo>
                    <a:pt x="880820" y="1174909"/>
                    <a:pt x="885583" y="1191101"/>
                    <a:pt x="885583" y="1200626"/>
                  </a:cubicBezTo>
                  <a:cubicBezTo>
                    <a:pt x="885583" y="1207294"/>
                    <a:pt x="889393" y="1215866"/>
                    <a:pt x="896060" y="1224439"/>
                  </a:cubicBezTo>
                  <a:cubicBezTo>
                    <a:pt x="902728" y="1233964"/>
                    <a:pt x="908443" y="1238726"/>
                    <a:pt x="913205" y="1238726"/>
                  </a:cubicBezTo>
                  <a:cubicBezTo>
                    <a:pt x="917015" y="1238726"/>
                    <a:pt x="923683" y="1243489"/>
                    <a:pt x="935113" y="1252061"/>
                  </a:cubicBezTo>
                  <a:cubicBezTo>
                    <a:pt x="942733" y="1258729"/>
                    <a:pt x="955115" y="1266349"/>
                    <a:pt x="972260" y="1274921"/>
                  </a:cubicBezTo>
                  <a:cubicBezTo>
                    <a:pt x="989405" y="1283494"/>
                    <a:pt x="998930" y="1287304"/>
                    <a:pt x="1001788" y="1284446"/>
                  </a:cubicBezTo>
                  <a:cubicBezTo>
                    <a:pt x="1002740" y="1283494"/>
                    <a:pt x="1004645" y="1268254"/>
                    <a:pt x="1008455" y="1237774"/>
                  </a:cubicBezTo>
                  <a:cubicBezTo>
                    <a:pt x="1011313" y="1208246"/>
                    <a:pt x="1014170" y="1191101"/>
                    <a:pt x="1016075" y="1187291"/>
                  </a:cubicBezTo>
                  <a:cubicBezTo>
                    <a:pt x="1017980" y="1183481"/>
                    <a:pt x="1017028" y="1179671"/>
                    <a:pt x="1011313" y="1175861"/>
                  </a:cubicBezTo>
                  <a:cubicBezTo>
                    <a:pt x="1005598" y="1173004"/>
                    <a:pt x="1003693" y="1153001"/>
                    <a:pt x="1003693" y="1113949"/>
                  </a:cubicBezTo>
                  <a:cubicBezTo>
                    <a:pt x="1003693" y="1074896"/>
                    <a:pt x="1003693" y="1049179"/>
                    <a:pt x="1001788" y="1035844"/>
                  </a:cubicBezTo>
                  <a:cubicBezTo>
                    <a:pt x="999883" y="1026319"/>
                    <a:pt x="997025" y="1020604"/>
                    <a:pt x="994168" y="1018699"/>
                  </a:cubicBezTo>
                  <a:lnTo>
                    <a:pt x="994168" y="1018699"/>
                  </a:lnTo>
                  <a:close/>
                  <a:moveTo>
                    <a:pt x="754138" y="897731"/>
                  </a:moveTo>
                  <a:cubicBezTo>
                    <a:pt x="749375" y="898684"/>
                    <a:pt x="745565" y="900589"/>
                    <a:pt x="741755" y="903446"/>
                  </a:cubicBezTo>
                  <a:cubicBezTo>
                    <a:pt x="737945" y="907256"/>
                    <a:pt x="729373" y="921544"/>
                    <a:pt x="716038" y="947261"/>
                  </a:cubicBezTo>
                  <a:cubicBezTo>
                    <a:pt x="707465" y="965359"/>
                    <a:pt x="702703" y="977741"/>
                    <a:pt x="700798" y="984409"/>
                  </a:cubicBezTo>
                  <a:cubicBezTo>
                    <a:pt x="699845" y="992029"/>
                    <a:pt x="700798" y="1001554"/>
                    <a:pt x="704608" y="1013936"/>
                  </a:cubicBezTo>
                  <a:cubicBezTo>
                    <a:pt x="711275" y="1032034"/>
                    <a:pt x="716038" y="1041559"/>
                    <a:pt x="720800" y="1043464"/>
                  </a:cubicBezTo>
                  <a:cubicBezTo>
                    <a:pt x="725563" y="1047274"/>
                    <a:pt x="742708" y="1038701"/>
                    <a:pt x="771283" y="1020604"/>
                  </a:cubicBezTo>
                  <a:cubicBezTo>
                    <a:pt x="799858" y="1001554"/>
                    <a:pt x="817955" y="987266"/>
                    <a:pt x="825575" y="976789"/>
                  </a:cubicBezTo>
                  <a:cubicBezTo>
                    <a:pt x="830338" y="968216"/>
                    <a:pt x="832243" y="961549"/>
                    <a:pt x="830338" y="956786"/>
                  </a:cubicBezTo>
                  <a:cubicBezTo>
                    <a:pt x="828433" y="952024"/>
                    <a:pt x="820813" y="942499"/>
                    <a:pt x="807478" y="928211"/>
                  </a:cubicBezTo>
                  <a:cubicBezTo>
                    <a:pt x="786523" y="906304"/>
                    <a:pt x="768425" y="895826"/>
                    <a:pt x="754138" y="897731"/>
                  </a:cubicBezTo>
                  <a:lnTo>
                    <a:pt x="754138" y="897731"/>
                  </a:lnTo>
                  <a:close/>
                  <a:moveTo>
                    <a:pt x="508393" y="863441"/>
                  </a:moveTo>
                  <a:cubicBezTo>
                    <a:pt x="503630" y="863441"/>
                    <a:pt x="500773" y="865346"/>
                    <a:pt x="500773" y="870109"/>
                  </a:cubicBezTo>
                  <a:cubicBezTo>
                    <a:pt x="500773" y="874871"/>
                    <a:pt x="504583" y="876776"/>
                    <a:pt x="513155" y="876776"/>
                  </a:cubicBezTo>
                  <a:cubicBezTo>
                    <a:pt x="521728" y="876776"/>
                    <a:pt x="523633" y="874871"/>
                    <a:pt x="520775" y="870109"/>
                  </a:cubicBezTo>
                  <a:cubicBezTo>
                    <a:pt x="517918" y="866299"/>
                    <a:pt x="513155" y="863441"/>
                    <a:pt x="508393" y="863441"/>
                  </a:cubicBezTo>
                  <a:lnTo>
                    <a:pt x="508393" y="863441"/>
                  </a:lnTo>
                  <a:close/>
                  <a:moveTo>
                    <a:pt x="2120023" y="812006"/>
                  </a:moveTo>
                  <a:cubicBezTo>
                    <a:pt x="2116213" y="813911"/>
                    <a:pt x="2114308" y="819626"/>
                    <a:pt x="2114308" y="830104"/>
                  </a:cubicBezTo>
                  <a:cubicBezTo>
                    <a:pt x="2114308" y="842486"/>
                    <a:pt x="2118118" y="849154"/>
                    <a:pt x="2124785" y="849154"/>
                  </a:cubicBezTo>
                  <a:cubicBezTo>
                    <a:pt x="2136215" y="849154"/>
                    <a:pt x="2138120" y="840581"/>
                    <a:pt x="2131453" y="823436"/>
                  </a:cubicBezTo>
                  <a:cubicBezTo>
                    <a:pt x="2127643" y="813911"/>
                    <a:pt x="2124785" y="810101"/>
                    <a:pt x="2120023" y="812006"/>
                  </a:cubicBezTo>
                  <a:lnTo>
                    <a:pt x="2120023" y="812006"/>
                  </a:lnTo>
                  <a:close/>
                  <a:moveTo>
                    <a:pt x="766520" y="361474"/>
                  </a:moveTo>
                  <a:cubicBezTo>
                    <a:pt x="747470" y="362426"/>
                    <a:pt x="731278" y="363379"/>
                    <a:pt x="716990" y="366236"/>
                  </a:cubicBezTo>
                  <a:cubicBezTo>
                    <a:pt x="681748" y="371951"/>
                    <a:pt x="655078" y="374809"/>
                    <a:pt x="639838" y="376714"/>
                  </a:cubicBezTo>
                  <a:cubicBezTo>
                    <a:pt x="624598" y="377666"/>
                    <a:pt x="596975" y="381476"/>
                    <a:pt x="559828" y="386239"/>
                  </a:cubicBezTo>
                  <a:cubicBezTo>
                    <a:pt x="522680" y="391001"/>
                    <a:pt x="501725" y="393859"/>
                    <a:pt x="497915" y="391954"/>
                  </a:cubicBezTo>
                  <a:cubicBezTo>
                    <a:pt x="493153" y="391001"/>
                    <a:pt x="478865" y="393859"/>
                    <a:pt x="455053" y="400526"/>
                  </a:cubicBezTo>
                  <a:cubicBezTo>
                    <a:pt x="431240" y="407194"/>
                    <a:pt x="414095" y="413861"/>
                    <a:pt x="404570" y="418624"/>
                  </a:cubicBezTo>
                  <a:cubicBezTo>
                    <a:pt x="389330" y="426244"/>
                    <a:pt x="320750" y="423386"/>
                    <a:pt x="269315" y="415766"/>
                  </a:cubicBezTo>
                  <a:cubicBezTo>
                    <a:pt x="250265" y="480536"/>
                    <a:pt x="196925" y="682466"/>
                    <a:pt x="181685" y="894874"/>
                  </a:cubicBezTo>
                  <a:cubicBezTo>
                    <a:pt x="166445" y="1111091"/>
                    <a:pt x="170255" y="1313974"/>
                    <a:pt x="168350" y="1328261"/>
                  </a:cubicBezTo>
                  <a:cubicBezTo>
                    <a:pt x="165493" y="1358741"/>
                    <a:pt x="166445" y="1377791"/>
                    <a:pt x="173113" y="1384459"/>
                  </a:cubicBezTo>
                  <a:cubicBezTo>
                    <a:pt x="180733" y="1392079"/>
                    <a:pt x="198830" y="1393984"/>
                    <a:pt x="227405" y="1390174"/>
                  </a:cubicBezTo>
                  <a:cubicBezTo>
                    <a:pt x="255980" y="1386364"/>
                    <a:pt x="324560" y="1372076"/>
                    <a:pt x="432193" y="1347311"/>
                  </a:cubicBezTo>
                  <a:cubicBezTo>
                    <a:pt x="585545" y="1313974"/>
                    <a:pt x="662698" y="1294924"/>
                    <a:pt x="663650" y="1291114"/>
                  </a:cubicBezTo>
                  <a:cubicBezTo>
                    <a:pt x="663650" y="1290161"/>
                    <a:pt x="663650" y="1288256"/>
                    <a:pt x="662698" y="1286351"/>
                  </a:cubicBezTo>
                  <a:cubicBezTo>
                    <a:pt x="661745" y="1284446"/>
                    <a:pt x="662698" y="1281589"/>
                    <a:pt x="665555" y="1279684"/>
                  </a:cubicBezTo>
                  <a:cubicBezTo>
                    <a:pt x="668413" y="1277779"/>
                    <a:pt x="673175" y="1274921"/>
                    <a:pt x="680795" y="1273016"/>
                  </a:cubicBezTo>
                  <a:cubicBezTo>
                    <a:pt x="688415" y="1271111"/>
                    <a:pt x="696988" y="1268254"/>
                    <a:pt x="708418" y="1265396"/>
                  </a:cubicBezTo>
                  <a:cubicBezTo>
                    <a:pt x="719848" y="1262539"/>
                    <a:pt x="733183" y="1259681"/>
                    <a:pt x="748423" y="1256824"/>
                  </a:cubicBezTo>
                  <a:cubicBezTo>
                    <a:pt x="760805" y="1254919"/>
                    <a:pt x="766520" y="1251109"/>
                    <a:pt x="768425" y="1248251"/>
                  </a:cubicBezTo>
                  <a:cubicBezTo>
                    <a:pt x="768425" y="1244441"/>
                    <a:pt x="764615" y="1237774"/>
                    <a:pt x="754138" y="1229201"/>
                  </a:cubicBezTo>
                  <a:cubicBezTo>
                    <a:pt x="746518" y="1223486"/>
                    <a:pt x="738898" y="1220629"/>
                    <a:pt x="731278" y="1220629"/>
                  </a:cubicBezTo>
                  <a:cubicBezTo>
                    <a:pt x="723658" y="1220629"/>
                    <a:pt x="705560" y="1221581"/>
                    <a:pt x="676985" y="1226344"/>
                  </a:cubicBezTo>
                  <a:cubicBezTo>
                    <a:pt x="636980" y="1233011"/>
                    <a:pt x="607453" y="1236821"/>
                    <a:pt x="591260" y="1236821"/>
                  </a:cubicBezTo>
                  <a:cubicBezTo>
                    <a:pt x="574115" y="1236821"/>
                    <a:pt x="562685" y="1240631"/>
                    <a:pt x="556018" y="1245394"/>
                  </a:cubicBezTo>
                  <a:cubicBezTo>
                    <a:pt x="549350" y="1251109"/>
                    <a:pt x="538873" y="1253966"/>
                    <a:pt x="522680" y="1253966"/>
                  </a:cubicBezTo>
                  <a:cubicBezTo>
                    <a:pt x="506488" y="1253966"/>
                    <a:pt x="487438" y="1260634"/>
                    <a:pt x="463625" y="1272064"/>
                  </a:cubicBezTo>
                  <a:cubicBezTo>
                    <a:pt x="440765" y="1284446"/>
                    <a:pt x="424573" y="1288256"/>
                    <a:pt x="414095" y="1285399"/>
                  </a:cubicBezTo>
                  <a:cubicBezTo>
                    <a:pt x="398855" y="1281589"/>
                    <a:pt x="376948" y="1244441"/>
                    <a:pt x="350278" y="1175861"/>
                  </a:cubicBezTo>
                  <a:cubicBezTo>
                    <a:pt x="344563" y="1160621"/>
                    <a:pt x="341705" y="1151096"/>
                    <a:pt x="342658" y="1144429"/>
                  </a:cubicBezTo>
                  <a:cubicBezTo>
                    <a:pt x="343610" y="1137761"/>
                    <a:pt x="349325" y="1124426"/>
                    <a:pt x="358850" y="1106329"/>
                  </a:cubicBezTo>
                  <a:cubicBezTo>
                    <a:pt x="372185" y="1080611"/>
                    <a:pt x="383615" y="1067276"/>
                    <a:pt x="394093" y="1064419"/>
                  </a:cubicBezTo>
                  <a:cubicBezTo>
                    <a:pt x="407428" y="1060609"/>
                    <a:pt x="427430" y="1036796"/>
                    <a:pt x="455053" y="992981"/>
                  </a:cubicBezTo>
                  <a:cubicBezTo>
                    <a:pt x="458863" y="986314"/>
                    <a:pt x="459815" y="980599"/>
                    <a:pt x="459815" y="976789"/>
                  </a:cubicBezTo>
                  <a:cubicBezTo>
                    <a:pt x="458863" y="972026"/>
                    <a:pt x="455053" y="965359"/>
                    <a:pt x="447433" y="956786"/>
                  </a:cubicBezTo>
                  <a:cubicBezTo>
                    <a:pt x="436003" y="943451"/>
                    <a:pt x="425525" y="934879"/>
                    <a:pt x="414095" y="932021"/>
                  </a:cubicBezTo>
                  <a:cubicBezTo>
                    <a:pt x="370280" y="921544"/>
                    <a:pt x="340753" y="912971"/>
                    <a:pt x="327418" y="906304"/>
                  </a:cubicBezTo>
                  <a:cubicBezTo>
                    <a:pt x="313130" y="898684"/>
                    <a:pt x="306463" y="889159"/>
                    <a:pt x="306463" y="876776"/>
                  </a:cubicBezTo>
                  <a:cubicBezTo>
                    <a:pt x="306463" y="857726"/>
                    <a:pt x="326465" y="832961"/>
                    <a:pt x="366470" y="802481"/>
                  </a:cubicBezTo>
                  <a:cubicBezTo>
                    <a:pt x="406475" y="772001"/>
                    <a:pt x="445528" y="750094"/>
                    <a:pt x="484580" y="738664"/>
                  </a:cubicBezTo>
                  <a:cubicBezTo>
                    <a:pt x="517918" y="728186"/>
                    <a:pt x="537920" y="719614"/>
                    <a:pt x="546493" y="711994"/>
                  </a:cubicBezTo>
                  <a:cubicBezTo>
                    <a:pt x="554113" y="704374"/>
                    <a:pt x="558875" y="689134"/>
                    <a:pt x="558875" y="665321"/>
                  </a:cubicBezTo>
                  <a:lnTo>
                    <a:pt x="558875" y="623411"/>
                  </a:lnTo>
                  <a:lnTo>
                    <a:pt x="497915" y="625316"/>
                  </a:lnTo>
                  <a:cubicBezTo>
                    <a:pt x="468388" y="625316"/>
                    <a:pt x="449338" y="624364"/>
                    <a:pt x="440765" y="622459"/>
                  </a:cubicBezTo>
                  <a:cubicBezTo>
                    <a:pt x="432193" y="621506"/>
                    <a:pt x="420763" y="613886"/>
                    <a:pt x="405523" y="601504"/>
                  </a:cubicBezTo>
                  <a:cubicBezTo>
                    <a:pt x="353135" y="558641"/>
                    <a:pt x="329323" y="534829"/>
                    <a:pt x="335990" y="528161"/>
                  </a:cubicBezTo>
                  <a:cubicBezTo>
                    <a:pt x="338848" y="525304"/>
                    <a:pt x="351230" y="523399"/>
                    <a:pt x="375043" y="523399"/>
                  </a:cubicBezTo>
                  <a:cubicBezTo>
                    <a:pt x="414095" y="523399"/>
                    <a:pt x="459815" y="508159"/>
                    <a:pt x="511250" y="479584"/>
                  </a:cubicBezTo>
                  <a:cubicBezTo>
                    <a:pt x="553160" y="454819"/>
                    <a:pt x="594118" y="452914"/>
                    <a:pt x="634123" y="472916"/>
                  </a:cubicBezTo>
                  <a:cubicBezTo>
                    <a:pt x="673175" y="491966"/>
                    <a:pt x="703655" y="517684"/>
                    <a:pt x="724610" y="552926"/>
                  </a:cubicBezTo>
                  <a:lnTo>
                    <a:pt x="742708" y="586264"/>
                  </a:lnTo>
                  <a:lnTo>
                    <a:pt x="722705" y="624364"/>
                  </a:lnTo>
                  <a:cubicBezTo>
                    <a:pt x="707465" y="650081"/>
                    <a:pt x="700798" y="673894"/>
                    <a:pt x="700798" y="695801"/>
                  </a:cubicBezTo>
                  <a:cubicBezTo>
                    <a:pt x="700798" y="710089"/>
                    <a:pt x="701750" y="720566"/>
                    <a:pt x="704608" y="725329"/>
                  </a:cubicBezTo>
                  <a:cubicBezTo>
                    <a:pt x="706513" y="731044"/>
                    <a:pt x="714133" y="736759"/>
                    <a:pt x="726515" y="743426"/>
                  </a:cubicBezTo>
                  <a:cubicBezTo>
                    <a:pt x="753185" y="758666"/>
                    <a:pt x="775093" y="790099"/>
                    <a:pt x="790333" y="836771"/>
                  </a:cubicBezTo>
                  <a:cubicBezTo>
                    <a:pt x="794143" y="845344"/>
                    <a:pt x="798905" y="852011"/>
                    <a:pt x="805573" y="856774"/>
                  </a:cubicBezTo>
                  <a:cubicBezTo>
                    <a:pt x="812240" y="861536"/>
                    <a:pt x="826528" y="866299"/>
                    <a:pt x="848435" y="872966"/>
                  </a:cubicBezTo>
                  <a:cubicBezTo>
                    <a:pt x="887488" y="885349"/>
                    <a:pt x="914158" y="894874"/>
                    <a:pt x="928445" y="903446"/>
                  </a:cubicBezTo>
                  <a:cubicBezTo>
                    <a:pt x="942733" y="912019"/>
                    <a:pt x="956068" y="925354"/>
                    <a:pt x="969403" y="946309"/>
                  </a:cubicBezTo>
                  <a:cubicBezTo>
                    <a:pt x="984643" y="971074"/>
                    <a:pt x="994168" y="983456"/>
                    <a:pt x="997025" y="983456"/>
                  </a:cubicBezTo>
                  <a:cubicBezTo>
                    <a:pt x="998930" y="977741"/>
                    <a:pt x="1000835" y="956786"/>
                    <a:pt x="1000835" y="919639"/>
                  </a:cubicBezTo>
                  <a:cubicBezTo>
                    <a:pt x="1000835" y="882491"/>
                    <a:pt x="999883" y="839629"/>
                    <a:pt x="997025" y="792956"/>
                  </a:cubicBezTo>
                  <a:cubicBezTo>
                    <a:pt x="995120" y="745331"/>
                    <a:pt x="992263" y="716756"/>
                    <a:pt x="989405" y="707231"/>
                  </a:cubicBezTo>
                  <a:cubicBezTo>
                    <a:pt x="983690" y="687229"/>
                    <a:pt x="981785" y="670084"/>
                    <a:pt x="984643" y="656749"/>
                  </a:cubicBezTo>
                  <a:cubicBezTo>
                    <a:pt x="987500" y="643414"/>
                    <a:pt x="986548" y="631984"/>
                    <a:pt x="979880" y="620554"/>
                  </a:cubicBezTo>
                  <a:cubicBezTo>
                    <a:pt x="973213" y="610076"/>
                    <a:pt x="970355" y="581501"/>
                    <a:pt x="968450" y="534829"/>
                  </a:cubicBezTo>
                  <a:cubicBezTo>
                    <a:pt x="965593" y="496729"/>
                    <a:pt x="959878" y="461486"/>
                    <a:pt x="950353" y="431006"/>
                  </a:cubicBezTo>
                  <a:cubicBezTo>
                    <a:pt x="940828" y="400526"/>
                    <a:pt x="929398" y="384334"/>
                    <a:pt x="917015" y="381476"/>
                  </a:cubicBezTo>
                  <a:cubicBezTo>
                    <a:pt x="907490" y="379571"/>
                    <a:pt x="901775" y="375761"/>
                    <a:pt x="901775" y="371951"/>
                  </a:cubicBezTo>
                  <a:cubicBezTo>
                    <a:pt x="901775" y="366236"/>
                    <a:pt x="877963" y="363379"/>
                    <a:pt x="830338" y="361474"/>
                  </a:cubicBezTo>
                  <a:cubicBezTo>
                    <a:pt x="806525" y="361474"/>
                    <a:pt x="785570" y="361474"/>
                    <a:pt x="766520" y="361474"/>
                  </a:cubicBezTo>
                  <a:lnTo>
                    <a:pt x="766520" y="361474"/>
                  </a:lnTo>
                  <a:close/>
                  <a:moveTo>
                    <a:pt x="801763" y="195739"/>
                  </a:moveTo>
                  <a:cubicBezTo>
                    <a:pt x="813193" y="194786"/>
                    <a:pt x="827480" y="194786"/>
                    <a:pt x="846530" y="195739"/>
                  </a:cubicBezTo>
                  <a:cubicBezTo>
                    <a:pt x="884630" y="197644"/>
                    <a:pt x="913205" y="202406"/>
                    <a:pt x="932255" y="207169"/>
                  </a:cubicBezTo>
                  <a:cubicBezTo>
                    <a:pt x="960830" y="214789"/>
                    <a:pt x="979880" y="224314"/>
                    <a:pt x="992263" y="235744"/>
                  </a:cubicBezTo>
                  <a:cubicBezTo>
                    <a:pt x="1003693" y="247174"/>
                    <a:pt x="1028458" y="260509"/>
                    <a:pt x="1066558" y="277654"/>
                  </a:cubicBezTo>
                  <a:cubicBezTo>
                    <a:pt x="1096085" y="290036"/>
                    <a:pt x="1122755" y="307181"/>
                    <a:pt x="1148473" y="328136"/>
                  </a:cubicBezTo>
                  <a:cubicBezTo>
                    <a:pt x="1173238" y="349091"/>
                    <a:pt x="1189430" y="368141"/>
                    <a:pt x="1197050" y="386239"/>
                  </a:cubicBezTo>
                  <a:cubicBezTo>
                    <a:pt x="1211338" y="423386"/>
                    <a:pt x="1219910" y="449104"/>
                    <a:pt x="1222768" y="464344"/>
                  </a:cubicBezTo>
                  <a:cubicBezTo>
                    <a:pt x="1225625" y="479584"/>
                    <a:pt x="1223720" y="495776"/>
                    <a:pt x="1217053" y="512921"/>
                  </a:cubicBezTo>
                  <a:cubicBezTo>
                    <a:pt x="1209433" y="535781"/>
                    <a:pt x="1207528" y="557689"/>
                    <a:pt x="1209433" y="575786"/>
                  </a:cubicBezTo>
                  <a:cubicBezTo>
                    <a:pt x="1216100" y="614839"/>
                    <a:pt x="1214195" y="649129"/>
                    <a:pt x="1205623" y="679609"/>
                  </a:cubicBezTo>
                  <a:cubicBezTo>
                    <a:pt x="1201813" y="696754"/>
                    <a:pt x="1200860" y="748189"/>
                    <a:pt x="1203718" y="835819"/>
                  </a:cubicBezTo>
                  <a:cubicBezTo>
                    <a:pt x="1207528" y="1012031"/>
                    <a:pt x="1205623" y="1109186"/>
                    <a:pt x="1198003" y="1125379"/>
                  </a:cubicBezTo>
                  <a:cubicBezTo>
                    <a:pt x="1188478" y="1147286"/>
                    <a:pt x="1201813" y="1203484"/>
                    <a:pt x="1201813" y="1293971"/>
                  </a:cubicBezTo>
                  <a:cubicBezTo>
                    <a:pt x="1201813" y="1565434"/>
                    <a:pt x="855103" y="1387316"/>
                    <a:pt x="854150" y="1385411"/>
                  </a:cubicBezTo>
                  <a:lnTo>
                    <a:pt x="790333" y="1393984"/>
                  </a:lnTo>
                  <a:cubicBezTo>
                    <a:pt x="746518" y="1399699"/>
                    <a:pt x="714133" y="1403509"/>
                    <a:pt x="694130" y="1405414"/>
                  </a:cubicBezTo>
                  <a:cubicBezTo>
                    <a:pt x="674128" y="1407319"/>
                    <a:pt x="660793" y="1410176"/>
                    <a:pt x="655078" y="1413986"/>
                  </a:cubicBezTo>
                  <a:cubicBezTo>
                    <a:pt x="648410" y="1417796"/>
                    <a:pt x="637933" y="1421606"/>
                    <a:pt x="621740" y="1424464"/>
                  </a:cubicBezTo>
                  <a:cubicBezTo>
                    <a:pt x="492200" y="1445419"/>
                    <a:pt x="399808" y="1457801"/>
                    <a:pt x="346468" y="1461611"/>
                  </a:cubicBezTo>
                  <a:cubicBezTo>
                    <a:pt x="292175" y="1465421"/>
                    <a:pt x="253123" y="1463516"/>
                    <a:pt x="227405" y="1455896"/>
                  </a:cubicBezTo>
                  <a:lnTo>
                    <a:pt x="197878" y="1446371"/>
                  </a:lnTo>
                  <a:lnTo>
                    <a:pt x="197878" y="1469231"/>
                  </a:lnTo>
                  <a:cubicBezTo>
                    <a:pt x="195973" y="1498759"/>
                    <a:pt x="188353" y="1508284"/>
                    <a:pt x="175970" y="1500664"/>
                  </a:cubicBezTo>
                  <a:cubicBezTo>
                    <a:pt x="169303" y="1494949"/>
                    <a:pt x="159778" y="1493044"/>
                    <a:pt x="144538" y="1493996"/>
                  </a:cubicBezTo>
                  <a:cubicBezTo>
                    <a:pt x="129298" y="1494949"/>
                    <a:pt x="119773" y="1491139"/>
                    <a:pt x="114058" y="1482566"/>
                  </a:cubicBezTo>
                  <a:cubicBezTo>
                    <a:pt x="108343" y="1473994"/>
                    <a:pt x="95008" y="1456849"/>
                    <a:pt x="73100" y="1432084"/>
                  </a:cubicBezTo>
                  <a:cubicBezTo>
                    <a:pt x="51193" y="1408271"/>
                    <a:pt x="36905" y="1379696"/>
                    <a:pt x="31190" y="1350169"/>
                  </a:cubicBezTo>
                  <a:cubicBezTo>
                    <a:pt x="24523" y="1319689"/>
                    <a:pt x="18808" y="1296829"/>
                    <a:pt x="14045" y="1281589"/>
                  </a:cubicBezTo>
                  <a:cubicBezTo>
                    <a:pt x="8330" y="1266349"/>
                    <a:pt x="6425" y="1231106"/>
                    <a:pt x="7378" y="1177766"/>
                  </a:cubicBezTo>
                  <a:cubicBezTo>
                    <a:pt x="7378" y="1118711"/>
                    <a:pt x="13093" y="1063466"/>
                    <a:pt x="23570" y="1011079"/>
                  </a:cubicBezTo>
                  <a:cubicBezTo>
                    <a:pt x="28333" y="983456"/>
                    <a:pt x="32143" y="944404"/>
                    <a:pt x="35000" y="895826"/>
                  </a:cubicBezTo>
                  <a:cubicBezTo>
                    <a:pt x="35953" y="869156"/>
                    <a:pt x="68338" y="439579"/>
                    <a:pt x="102628" y="374809"/>
                  </a:cubicBezTo>
                  <a:cubicBezTo>
                    <a:pt x="107390" y="367189"/>
                    <a:pt x="121678" y="364331"/>
                    <a:pt x="140728" y="365284"/>
                  </a:cubicBezTo>
                  <a:cubicBezTo>
                    <a:pt x="141680" y="364331"/>
                    <a:pt x="142633" y="364331"/>
                    <a:pt x="143585" y="363379"/>
                  </a:cubicBezTo>
                  <a:cubicBezTo>
                    <a:pt x="152158" y="358616"/>
                    <a:pt x="155015" y="353854"/>
                    <a:pt x="151205" y="347186"/>
                  </a:cubicBezTo>
                  <a:cubicBezTo>
                    <a:pt x="148348" y="340519"/>
                    <a:pt x="149300" y="337661"/>
                    <a:pt x="154063" y="337661"/>
                  </a:cubicBezTo>
                  <a:cubicBezTo>
                    <a:pt x="197878" y="335756"/>
                    <a:pt x="263600" y="322421"/>
                    <a:pt x="350278" y="297656"/>
                  </a:cubicBezTo>
                  <a:cubicBezTo>
                    <a:pt x="432193" y="275749"/>
                    <a:pt x="480770" y="260509"/>
                    <a:pt x="496010" y="253841"/>
                  </a:cubicBezTo>
                  <a:cubicBezTo>
                    <a:pt x="511250" y="247174"/>
                    <a:pt x="537920" y="241459"/>
                    <a:pt x="575068" y="237649"/>
                  </a:cubicBezTo>
                  <a:cubicBezTo>
                    <a:pt x="613168" y="233839"/>
                    <a:pt x="643648" y="226219"/>
                    <a:pt x="667460" y="216694"/>
                  </a:cubicBezTo>
                  <a:cubicBezTo>
                    <a:pt x="691273" y="207169"/>
                    <a:pt x="715085" y="202406"/>
                    <a:pt x="739850" y="203359"/>
                  </a:cubicBezTo>
                  <a:cubicBezTo>
                    <a:pt x="764615" y="203359"/>
                    <a:pt x="777950" y="203359"/>
                    <a:pt x="779855" y="200501"/>
                  </a:cubicBezTo>
                  <a:cubicBezTo>
                    <a:pt x="783665" y="198596"/>
                    <a:pt x="790333" y="196691"/>
                    <a:pt x="801763" y="195739"/>
                  </a:cubicBezTo>
                  <a:lnTo>
                    <a:pt x="801763" y="195739"/>
                  </a:lnTo>
                  <a:close/>
                  <a:moveTo>
                    <a:pt x="1737118" y="13811"/>
                  </a:moveTo>
                  <a:cubicBezTo>
                    <a:pt x="1746643" y="13811"/>
                    <a:pt x="1759978" y="14764"/>
                    <a:pt x="1775218" y="15716"/>
                  </a:cubicBezTo>
                  <a:cubicBezTo>
                    <a:pt x="1883803" y="21431"/>
                    <a:pt x="1958098" y="44291"/>
                    <a:pt x="1998103" y="83344"/>
                  </a:cubicBezTo>
                  <a:cubicBezTo>
                    <a:pt x="2012390" y="95726"/>
                    <a:pt x="2020963" y="106204"/>
                    <a:pt x="2022868" y="112871"/>
                  </a:cubicBezTo>
                  <a:cubicBezTo>
                    <a:pt x="2024773" y="120491"/>
                    <a:pt x="2026678" y="135731"/>
                    <a:pt x="2026678" y="159544"/>
                  </a:cubicBezTo>
                  <a:cubicBezTo>
                    <a:pt x="2026678" y="190976"/>
                    <a:pt x="2023820" y="222409"/>
                    <a:pt x="2018105" y="252889"/>
                  </a:cubicBezTo>
                  <a:cubicBezTo>
                    <a:pt x="2014295" y="273844"/>
                    <a:pt x="2010485" y="288131"/>
                    <a:pt x="2006675" y="296704"/>
                  </a:cubicBezTo>
                  <a:cubicBezTo>
                    <a:pt x="2002865" y="305276"/>
                    <a:pt x="1994293" y="315754"/>
                    <a:pt x="1980958" y="326231"/>
                  </a:cubicBezTo>
                  <a:cubicBezTo>
                    <a:pt x="1960955" y="343376"/>
                    <a:pt x="1929523" y="361474"/>
                    <a:pt x="1885708" y="382429"/>
                  </a:cubicBezTo>
                  <a:cubicBezTo>
                    <a:pt x="1858085" y="393859"/>
                    <a:pt x="1819033" y="415766"/>
                    <a:pt x="1766645" y="449104"/>
                  </a:cubicBezTo>
                  <a:cubicBezTo>
                    <a:pt x="1714258" y="482441"/>
                    <a:pt x="1688540" y="501491"/>
                    <a:pt x="1688540" y="508159"/>
                  </a:cubicBezTo>
                  <a:cubicBezTo>
                    <a:pt x="1693303" y="507206"/>
                    <a:pt x="1697113" y="505301"/>
                    <a:pt x="1702828" y="503396"/>
                  </a:cubicBezTo>
                  <a:cubicBezTo>
                    <a:pt x="1707590" y="502444"/>
                    <a:pt x="1711400" y="499586"/>
                    <a:pt x="1717115" y="497681"/>
                  </a:cubicBezTo>
                  <a:cubicBezTo>
                    <a:pt x="1736165" y="491014"/>
                    <a:pt x="1762835" y="480536"/>
                    <a:pt x="1798078" y="467201"/>
                  </a:cubicBezTo>
                  <a:cubicBezTo>
                    <a:pt x="1857133" y="444341"/>
                    <a:pt x="1930475" y="412909"/>
                    <a:pt x="2019058" y="371951"/>
                  </a:cubicBezTo>
                  <a:cubicBezTo>
                    <a:pt x="2069540" y="348139"/>
                    <a:pt x="2108593" y="333851"/>
                    <a:pt x="2136215" y="328136"/>
                  </a:cubicBezTo>
                  <a:cubicBezTo>
                    <a:pt x="2163838" y="322421"/>
                    <a:pt x="2190508" y="325279"/>
                    <a:pt x="2214320" y="333851"/>
                  </a:cubicBezTo>
                  <a:cubicBezTo>
                    <a:pt x="2224798" y="338614"/>
                    <a:pt x="2237181" y="349091"/>
                    <a:pt x="2249563" y="366236"/>
                  </a:cubicBezTo>
                  <a:cubicBezTo>
                    <a:pt x="2262898" y="383381"/>
                    <a:pt x="2268613" y="396716"/>
                    <a:pt x="2268613" y="407194"/>
                  </a:cubicBezTo>
                  <a:cubicBezTo>
                    <a:pt x="2268613" y="418624"/>
                    <a:pt x="2260993" y="431006"/>
                    <a:pt x="2246706" y="445294"/>
                  </a:cubicBezTo>
                  <a:cubicBezTo>
                    <a:pt x="2231465" y="459581"/>
                    <a:pt x="2212415" y="472916"/>
                    <a:pt x="2189556" y="483394"/>
                  </a:cubicBezTo>
                  <a:lnTo>
                    <a:pt x="1858085" y="611029"/>
                  </a:lnTo>
                  <a:lnTo>
                    <a:pt x="1699018" y="1009174"/>
                  </a:lnTo>
                  <a:cubicBezTo>
                    <a:pt x="1716163" y="995839"/>
                    <a:pt x="1730450" y="987266"/>
                    <a:pt x="1743785" y="983456"/>
                  </a:cubicBezTo>
                  <a:cubicBezTo>
                    <a:pt x="1819985" y="962501"/>
                    <a:pt x="1882850" y="940594"/>
                    <a:pt x="1933333" y="917734"/>
                  </a:cubicBezTo>
                  <a:cubicBezTo>
                    <a:pt x="1957145" y="907256"/>
                    <a:pt x="1972385" y="899636"/>
                    <a:pt x="1977148" y="894874"/>
                  </a:cubicBezTo>
                  <a:cubicBezTo>
                    <a:pt x="1981910" y="890111"/>
                    <a:pt x="1987625" y="876776"/>
                    <a:pt x="1993340" y="854869"/>
                  </a:cubicBezTo>
                  <a:cubicBezTo>
                    <a:pt x="1999055" y="838676"/>
                    <a:pt x="2007628" y="801529"/>
                    <a:pt x="2018105" y="743426"/>
                  </a:cubicBezTo>
                  <a:cubicBezTo>
                    <a:pt x="2028583" y="685324"/>
                    <a:pt x="2034298" y="650081"/>
                    <a:pt x="2034298" y="638651"/>
                  </a:cubicBezTo>
                  <a:cubicBezTo>
                    <a:pt x="2034298" y="631984"/>
                    <a:pt x="2040013" y="624364"/>
                    <a:pt x="2052395" y="616744"/>
                  </a:cubicBezTo>
                  <a:cubicBezTo>
                    <a:pt x="2064778" y="609124"/>
                    <a:pt x="2075255" y="604361"/>
                    <a:pt x="2083828" y="604361"/>
                  </a:cubicBezTo>
                  <a:cubicBezTo>
                    <a:pt x="2092400" y="604361"/>
                    <a:pt x="2099068" y="605314"/>
                    <a:pt x="2103831" y="609124"/>
                  </a:cubicBezTo>
                  <a:cubicBezTo>
                    <a:pt x="2107640" y="612934"/>
                    <a:pt x="2112403" y="621506"/>
                    <a:pt x="2117165" y="634841"/>
                  </a:cubicBezTo>
                  <a:cubicBezTo>
                    <a:pt x="2124785" y="655796"/>
                    <a:pt x="2131453" y="677704"/>
                    <a:pt x="2136215" y="701516"/>
                  </a:cubicBezTo>
                  <a:cubicBezTo>
                    <a:pt x="2143835" y="731996"/>
                    <a:pt x="2155265" y="754856"/>
                    <a:pt x="2167648" y="768191"/>
                  </a:cubicBezTo>
                  <a:cubicBezTo>
                    <a:pt x="2180983" y="781526"/>
                    <a:pt x="2207653" y="794861"/>
                    <a:pt x="2249563" y="808196"/>
                  </a:cubicBezTo>
                  <a:cubicBezTo>
                    <a:pt x="2277185" y="818674"/>
                    <a:pt x="2297188" y="831056"/>
                    <a:pt x="2311475" y="845344"/>
                  </a:cubicBezTo>
                  <a:cubicBezTo>
                    <a:pt x="2325763" y="860584"/>
                    <a:pt x="2340050" y="872966"/>
                    <a:pt x="2356243" y="882491"/>
                  </a:cubicBezTo>
                  <a:cubicBezTo>
                    <a:pt x="2367673" y="890111"/>
                    <a:pt x="2373388" y="894874"/>
                    <a:pt x="2375293" y="897731"/>
                  </a:cubicBezTo>
                  <a:cubicBezTo>
                    <a:pt x="2376245" y="900589"/>
                    <a:pt x="2374340" y="905351"/>
                    <a:pt x="2368625" y="911066"/>
                  </a:cubicBezTo>
                  <a:cubicBezTo>
                    <a:pt x="2361006" y="919639"/>
                    <a:pt x="2336240" y="930116"/>
                    <a:pt x="2296235" y="940594"/>
                  </a:cubicBezTo>
                  <a:cubicBezTo>
                    <a:pt x="2179078" y="970121"/>
                    <a:pt x="2117165" y="988219"/>
                    <a:pt x="2108593" y="993934"/>
                  </a:cubicBezTo>
                  <a:cubicBezTo>
                    <a:pt x="2102878" y="999649"/>
                    <a:pt x="2100973" y="1007269"/>
                    <a:pt x="2100973" y="1015841"/>
                  </a:cubicBezTo>
                  <a:cubicBezTo>
                    <a:pt x="2100973" y="1024414"/>
                    <a:pt x="2105735" y="1031081"/>
                    <a:pt x="2114308" y="1034891"/>
                  </a:cubicBezTo>
                  <a:cubicBezTo>
                    <a:pt x="2122881" y="1039654"/>
                    <a:pt x="2151456" y="1062514"/>
                    <a:pt x="2197175" y="1105376"/>
                  </a:cubicBezTo>
                  <a:cubicBezTo>
                    <a:pt x="2225750" y="1132046"/>
                    <a:pt x="2250515" y="1151096"/>
                    <a:pt x="2269565" y="1164431"/>
                  </a:cubicBezTo>
                  <a:cubicBezTo>
                    <a:pt x="2288615" y="1177766"/>
                    <a:pt x="2315285" y="1192054"/>
                    <a:pt x="2348623" y="1208246"/>
                  </a:cubicBezTo>
                  <a:cubicBezTo>
                    <a:pt x="2392438" y="1230154"/>
                    <a:pt x="2431490" y="1253014"/>
                    <a:pt x="2465781" y="1279684"/>
                  </a:cubicBezTo>
                  <a:cubicBezTo>
                    <a:pt x="2500070" y="1305401"/>
                    <a:pt x="2522931" y="1328261"/>
                    <a:pt x="2533408" y="1347311"/>
                  </a:cubicBezTo>
                  <a:cubicBezTo>
                    <a:pt x="2541028" y="1362551"/>
                    <a:pt x="2549600" y="1373981"/>
                    <a:pt x="2557220" y="1381601"/>
                  </a:cubicBezTo>
                  <a:cubicBezTo>
                    <a:pt x="2564840" y="1388269"/>
                    <a:pt x="2572460" y="1403509"/>
                    <a:pt x="2581033" y="1428274"/>
                  </a:cubicBezTo>
                  <a:cubicBezTo>
                    <a:pt x="2589606" y="1453039"/>
                    <a:pt x="2594368" y="1472089"/>
                    <a:pt x="2594368" y="1486376"/>
                  </a:cubicBezTo>
                  <a:cubicBezTo>
                    <a:pt x="2594368" y="1515904"/>
                    <a:pt x="2581985" y="1536859"/>
                    <a:pt x="2556268" y="1548289"/>
                  </a:cubicBezTo>
                  <a:cubicBezTo>
                    <a:pt x="2500070" y="1577816"/>
                    <a:pt x="2452445" y="1562576"/>
                    <a:pt x="2413393" y="1501616"/>
                  </a:cubicBezTo>
                  <a:cubicBezTo>
                    <a:pt x="2402915" y="1484471"/>
                    <a:pt x="2392438" y="1472089"/>
                    <a:pt x="2381960" y="1466374"/>
                  </a:cubicBezTo>
                  <a:lnTo>
                    <a:pt x="2271470" y="1346359"/>
                  </a:lnTo>
                  <a:cubicBezTo>
                    <a:pt x="2267660" y="1332071"/>
                    <a:pt x="2245753" y="1301591"/>
                    <a:pt x="2205748" y="1256824"/>
                  </a:cubicBezTo>
                  <a:cubicBezTo>
                    <a:pt x="2171458" y="1215866"/>
                    <a:pt x="2146693" y="1175861"/>
                    <a:pt x="2131453" y="1137761"/>
                  </a:cubicBezTo>
                  <a:cubicBezTo>
                    <a:pt x="2125738" y="1122521"/>
                    <a:pt x="2118118" y="1108234"/>
                    <a:pt x="2108593" y="1093946"/>
                  </a:cubicBezTo>
                  <a:cubicBezTo>
                    <a:pt x="2100020" y="1079659"/>
                    <a:pt x="2092400" y="1072039"/>
                    <a:pt x="2087638" y="1072039"/>
                  </a:cubicBezTo>
                  <a:cubicBezTo>
                    <a:pt x="2083828" y="1072039"/>
                    <a:pt x="2080018" y="1086326"/>
                    <a:pt x="2073350" y="1114901"/>
                  </a:cubicBezTo>
                  <a:cubicBezTo>
                    <a:pt x="2065730" y="1155859"/>
                    <a:pt x="2047633" y="1213961"/>
                    <a:pt x="2019058" y="1288256"/>
                  </a:cubicBezTo>
                  <a:cubicBezTo>
                    <a:pt x="1991435" y="1362551"/>
                    <a:pt x="1968575" y="1413034"/>
                    <a:pt x="1951430" y="1437799"/>
                  </a:cubicBezTo>
                  <a:cubicBezTo>
                    <a:pt x="1936190" y="1460659"/>
                    <a:pt x="1924760" y="1475899"/>
                    <a:pt x="1914283" y="1483519"/>
                  </a:cubicBezTo>
                  <a:cubicBezTo>
                    <a:pt x="1904758" y="1491139"/>
                    <a:pt x="1885708" y="1501616"/>
                    <a:pt x="1857133" y="1514951"/>
                  </a:cubicBezTo>
                  <a:lnTo>
                    <a:pt x="1795220" y="1542574"/>
                  </a:lnTo>
                  <a:lnTo>
                    <a:pt x="1757120" y="1528286"/>
                  </a:lnTo>
                  <a:cubicBezTo>
                    <a:pt x="1732355" y="1518761"/>
                    <a:pt x="1719020" y="1512094"/>
                    <a:pt x="1719020" y="1506379"/>
                  </a:cubicBezTo>
                  <a:cubicBezTo>
                    <a:pt x="1719020" y="1501616"/>
                    <a:pt x="1727593" y="1494949"/>
                    <a:pt x="1744738" y="1486376"/>
                  </a:cubicBezTo>
                  <a:cubicBezTo>
                    <a:pt x="1790458" y="1464469"/>
                    <a:pt x="1834273" y="1404461"/>
                    <a:pt x="1875230" y="1306354"/>
                  </a:cubicBezTo>
                  <a:cubicBezTo>
                    <a:pt x="1892375" y="1269206"/>
                    <a:pt x="1906663" y="1232059"/>
                    <a:pt x="1919045" y="1195864"/>
                  </a:cubicBezTo>
                  <a:cubicBezTo>
                    <a:pt x="1931428" y="1159669"/>
                    <a:pt x="1939048" y="1132046"/>
                    <a:pt x="1942858" y="1112044"/>
                  </a:cubicBezTo>
                  <a:cubicBezTo>
                    <a:pt x="1946668" y="1092041"/>
                    <a:pt x="1946668" y="1080611"/>
                    <a:pt x="1941905" y="1078706"/>
                  </a:cubicBezTo>
                  <a:cubicBezTo>
                    <a:pt x="1937143" y="1078706"/>
                    <a:pt x="1927618" y="1084421"/>
                    <a:pt x="1912378" y="1093946"/>
                  </a:cubicBezTo>
                  <a:cubicBezTo>
                    <a:pt x="1898090" y="1101566"/>
                    <a:pt x="1882850" y="1106329"/>
                    <a:pt x="1866658" y="1108234"/>
                  </a:cubicBezTo>
                  <a:cubicBezTo>
                    <a:pt x="1850465" y="1109186"/>
                    <a:pt x="1819985" y="1108234"/>
                    <a:pt x="1776170" y="1104424"/>
                  </a:cubicBezTo>
                  <a:lnTo>
                    <a:pt x="1678063" y="1059656"/>
                  </a:lnTo>
                  <a:lnTo>
                    <a:pt x="1641868" y="1149191"/>
                  </a:lnTo>
                  <a:cubicBezTo>
                    <a:pt x="1630438" y="1169194"/>
                    <a:pt x="1621865" y="1180624"/>
                    <a:pt x="1616150" y="1184434"/>
                  </a:cubicBezTo>
                  <a:cubicBezTo>
                    <a:pt x="1610435" y="1188244"/>
                    <a:pt x="1602815" y="1198721"/>
                    <a:pt x="1595195" y="1215866"/>
                  </a:cubicBezTo>
                  <a:cubicBezTo>
                    <a:pt x="1586623" y="1233011"/>
                    <a:pt x="1575193" y="1253014"/>
                    <a:pt x="1561858" y="1274921"/>
                  </a:cubicBezTo>
                  <a:cubicBezTo>
                    <a:pt x="1526615" y="1332071"/>
                    <a:pt x="1489468" y="1395889"/>
                    <a:pt x="1451368" y="1467326"/>
                  </a:cubicBezTo>
                  <a:cubicBezTo>
                    <a:pt x="1443748" y="1480661"/>
                    <a:pt x="1431365" y="1497806"/>
                    <a:pt x="1415173" y="1519714"/>
                  </a:cubicBezTo>
                  <a:cubicBezTo>
                    <a:pt x="1398980" y="1541621"/>
                    <a:pt x="1382788" y="1564481"/>
                    <a:pt x="1367548" y="1589246"/>
                  </a:cubicBezTo>
                  <a:cubicBezTo>
                    <a:pt x="1352308" y="1614011"/>
                    <a:pt x="1339925" y="1630204"/>
                    <a:pt x="1330400" y="1637824"/>
                  </a:cubicBezTo>
                  <a:cubicBezTo>
                    <a:pt x="1320875" y="1645444"/>
                    <a:pt x="1315160" y="1652111"/>
                    <a:pt x="1312303" y="1656874"/>
                  </a:cubicBezTo>
                  <a:cubicBezTo>
                    <a:pt x="1308493" y="1667351"/>
                    <a:pt x="1297063" y="1685449"/>
                    <a:pt x="1278013" y="1708309"/>
                  </a:cubicBezTo>
                  <a:cubicBezTo>
                    <a:pt x="1258963" y="1731169"/>
                    <a:pt x="1247533" y="1743551"/>
                    <a:pt x="1243723" y="1743551"/>
                  </a:cubicBezTo>
                  <a:cubicBezTo>
                    <a:pt x="1237055" y="1743551"/>
                    <a:pt x="1228483" y="1753076"/>
                    <a:pt x="1218005" y="1771174"/>
                  </a:cubicBezTo>
                  <a:cubicBezTo>
                    <a:pt x="1207528" y="1789271"/>
                    <a:pt x="1197050" y="1799749"/>
                    <a:pt x="1188478" y="1799749"/>
                  </a:cubicBezTo>
                  <a:cubicBezTo>
                    <a:pt x="1179905" y="1799749"/>
                    <a:pt x="1164665" y="1801654"/>
                    <a:pt x="1142758" y="1804511"/>
                  </a:cubicBezTo>
                  <a:cubicBezTo>
                    <a:pt x="1135138" y="1805464"/>
                    <a:pt x="1129423" y="1806416"/>
                    <a:pt x="1126565" y="1807369"/>
                  </a:cubicBezTo>
                  <a:cubicBezTo>
                    <a:pt x="1123708" y="1807369"/>
                    <a:pt x="1120850" y="1807369"/>
                    <a:pt x="1117993" y="1807369"/>
                  </a:cubicBezTo>
                  <a:cubicBezTo>
                    <a:pt x="1116088" y="1807369"/>
                    <a:pt x="1115135" y="1805464"/>
                    <a:pt x="1115135" y="1803559"/>
                  </a:cubicBezTo>
                  <a:cubicBezTo>
                    <a:pt x="1115135" y="1801654"/>
                    <a:pt x="1116088" y="1798796"/>
                    <a:pt x="1116088" y="1794986"/>
                  </a:cubicBezTo>
                  <a:cubicBezTo>
                    <a:pt x="1117993" y="1790224"/>
                    <a:pt x="1118945" y="1787366"/>
                    <a:pt x="1117993" y="1785461"/>
                  </a:cubicBezTo>
                  <a:cubicBezTo>
                    <a:pt x="1117993" y="1784509"/>
                    <a:pt x="1116088" y="1784509"/>
                    <a:pt x="1112278" y="1787366"/>
                  </a:cubicBezTo>
                  <a:cubicBezTo>
                    <a:pt x="1105610" y="1791176"/>
                    <a:pt x="1100848" y="1787366"/>
                    <a:pt x="1097990" y="1777841"/>
                  </a:cubicBezTo>
                  <a:cubicBezTo>
                    <a:pt x="1095133" y="1768316"/>
                    <a:pt x="1090370" y="1757839"/>
                    <a:pt x="1083703" y="1746409"/>
                  </a:cubicBezTo>
                  <a:cubicBezTo>
                    <a:pt x="1077035" y="1734026"/>
                    <a:pt x="1070368" y="1714976"/>
                    <a:pt x="1064653" y="1688306"/>
                  </a:cubicBezTo>
                  <a:cubicBezTo>
                    <a:pt x="1057985" y="1661636"/>
                    <a:pt x="1056080" y="1645444"/>
                    <a:pt x="1058938" y="1639729"/>
                  </a:cubicBezTo>
                  <a:cubicBezTo>
                    <a:pt x="1060843" y="1631156"/>
                    <a:pt x="1057985" y="1624489"/>
                    <a:pt x="1047508" y="1617821"/>
                  </a:cubicBezTo>
                  <a:cubicBezTo>
                    <a:pt x="1040840" y="1613059"/>
                    <a:pt x="1037983" y="1609249"/>
                    <a:pt x="1037030" y="1605439"/>
                  </a:cubicBezTo>
                  <a:cubicBezTo>
                    <a:pt x="1037030" y="1602581"/>
                    <a:pt x="1038935" y="1597819"/>
                    <a:pt x="1043698" y="1591151"/>
                  </a:cubicBezTo>
                  <a:cubicBezTo>
                    <a:pt x="1048460" y="1583531"/>
                    <a:pt x="1049413" y="1580674"/>
                    <a:pt x="1045603" y="1581626"/>
                  </a:cubicBezTo>
                  <a:cubicBezTo>
                    <a:pt x="1038935" y="1585436"/>
                    <a:pt x="1036078" y="1585436"/>
                    <a:pt x="1036078" y="1581626"/>
                  </a:cubicBezTo>
                  <a:cubicBezTo>
                    <a:pt x="1036078" y="1576864"/>
                    <a:pt x="1041793" y="1567339"/>
                    <a:pt x="1052270" y="1555909"/>
                  </a:cubicBezTo>
                  <a:cubicBezTo>
                    <a:pt x="1062748" y="1543526"/>
                    <a:pt x="1071320" y="1537811"/>
                    <a:pt x="1076083" y="1537811"/>
                  </a:cubicBezTo>
                  <a:cubicBezTo>
                    <a:pt x="1078940" y="1537811"/>
                    <a:pt x="1090370" y="1527334"/>
                    <a:pt x="1111325" y="1506379"/>
                  </a:cubicBezTo>
                  <a:cubicBezTo>
                    <a:pt x="1132280" y="1485424"/>
                    <a:pt x="1142758" y="1473994"/>
                    <a:pt x="1140853" y="1471136"/>
                  </a:cubicBezTo>
                  <a:cubicBezTo>
                    <a:pt x="1140853" y="1470184"/>
                    <a:pt x="1156093" y="1455896"/>
                    <a:pt x="1186573" y="1427321"/>
                  </a:cubicBezTo>
                  <a:cubicBezTo>
                    <a:pt x="1217053" y="1399699"/>
                    <a:pt x="1231340" y="1389221"/>
                    <a:pt x="1228483" y="1394936"/>
                  </a:cubicBezTo>
                  <a:cubicBezTo>
                    <a:pt x="1222768" y="1411129"/>
                    <a:pt x="1185620" y="1454944"/>
                    <a:pt x="1115135" y="1528286"/>
                  </a:cubicBezTo>
                  <a:cubicBezTo>
                    <a:pt x="1089418" y="1554956"/>
                    <a:pt x="1079893" y="1567339"/>
                    <a:pt x="1084655" y="1565434"/>
                  </a:cubicBezTo>
                  <a:cubicBezTo>
                    <a:pt x="1099895" y="1557814"/>
                    <a:pt x="1122755" y="1541621"/>
                    <a:pt x="1151330" y="1515904"/>
                  </a:cubicBezTo>
                  <a:cubicBezTo>
                    <a:pt x="1180858" y="1490186"/>
                    <a:pt x="1195145" y="1474946"/>
                    <a:pt x="1195145" y="1470184"/>
                  </a:cubicBezTo>
                  <a:cubicBezTo>
                    <a:pt x="1195145" y="1466374"/>
                    <a:pt x="1202765" y="1454944"/>
                    <a:pt x="1218958" y="1433989"/>
                  </a:cubicBezTo>
                  <a:cubicBezTo>
                    <a:pt x="1235150" y="1413986"/>
                    <a:pt x="1248485" y="1397794"/>
                    <a:pt x="1259915" y="1387316"/>
                  </a:cubicBezTo>
                  <a:cubicBezTo>
                    <a:pt x="1273250" y="1375886"/>
                    <a:pt x="1278965" y="1368266"/>
                    <a:pt x="1278965" y="1363504"/>
                  </a:cubicBezTo>
                  <a:cubicBezTo>
                    <a:pt x="1278965" y="1358741"/>
                    <a:pt x="1287538" y="1346359"/>
                    <a:pt x="1305635" y="1326356"/>
                  </a:cubicBezTo>
                  <a:cubicBezTo>
                    <a:pt x="1337068" y="1295876"/>
                    <a:pt x="1355165" y="1271111"/>
                    <a:pt x="1360880" y="1252061"/>
                  </a:cubicBezTo>
                  <a:cubicBezTo>
                    <a:pt x="1363738" y="1242536"/>
                    <a:pt x="1367548" y="1236821"/>
                    <a:pt x="1372310" y="1236821"/>
                  </a:cubicBezTo>
                  <a:cubicBezTo>
                    <a:pt x="1378025" y="1236821"/>
                    <a:pt x="1381835" y="1231106"/>
                    <a:pt x="1384693" y="1220629"/>
                  </a:cubicBezTo>
                  <a:cubicBezTo>
                    <a:pt x="1387550" y="1209199"/>
                    <a:pt x="1393265" y="1204436"/>
                    <a:pt x="1401838" y="1204436"/>
                  </a:cubicBezTo>
                  <a:cubicBezTo>
                    <a:pt x="1410410" y="1204436"/>
                    <a:pt x="1414220" y="1199674"/>
                    <a:pt x="1414220" y="1189196"/>
                  </a:cubicBezTo>
                  <a:cubicBezTo>
                    <a:pt x="1414220" y="1182529"/>
                    <a:pt x="1424698" y="1163479"/>
                    <a:pt x="1446605" y="1132046"/>
                  </a:cubicBezTo>
                  <a:cubicBezTo>
                    <a:pt x="1468513" y="1100614"/>
                    <a:pt x="1487563" y="1074896"/>
                    <a:pt x="1505660" y="1056799"/>
                  </a:cubicBezTo>
                  <a:cubicBezTo>
                    <a:pt x="1513280" y="1048226"/>
                    <a:pt x="1523758" y="1033939"/>
                    <a:pt x="1537093" y="1012984"/>
                  </a:cubicBezTo>
                  <a:cubicBezTo>
                    <a:pt x="1550428" y="992981"/>
                    <a:pt x="1603768" y="892969"/>
                    <a:pt x="1622818" y="842486"/>
                  </a:cubicBezTo>
                  <a:cubicBezTo>
                    <a:pt x="1623770" y="838676"/>
                    <a:pt x="1625675" y="835819"/>
                    <a:pt x="1626628" y="832009"/>
                  </a:cubicBezTo>
                  <a:lnTo>
                    <a:pt x="1650440" y="775811"/>
                  </a:lnTo>
                  <a:cubicBezTo>
                    <a:pt x="1661870" y="749141"/>
                    <a:pt x="1675205" y="723424"/>
                    <a:pt x="1688540" y="697706"/>
                  </a:cubicBezTo>
                  <a:cubicBezTo>
                    <a:pt x="1713305" y="651986"/>
                    <a:pt x="1724735" y="628174"/>
                    <a:pt x="1721878" y="626269"/>
                  </a:cubicBezTo>
                  <a:cubicBezTo>
                    <a:pt x="1719973" y="624364"/>
                    <a:pt x="1703780" y="628174"/>
                    <a:pt x="1674253" y="637699"/>
                  </a:cubicBezTo>
                  <a:cubicBezTo>
                    <a:pt x="1555190" y="674846"/>
                    <a:pt x="1486610" y="691039"/>
                    <a:pt x="1467560" y="685324"/>
                  </a:cubicBezTo>
                  <a:cubicBezTo>
                    <a:pt x="1457083" y="682466"/>
                    <a:pt x="1448510" y="674846"/>
                    <a:pt x="1440890" y="663416"/>
                  </a:cubicBezTo>
                  <a:cubicBezTo>
                    <a:pt x="1436128" y="655796"/>
                    <a:pt x="1433270" y="649129"/>
                    <a:pt x="1433270" y="644366"/>
                  </a:cubicBezTo>
                  <a:cubicBezTo>
                    <a:pt x="1433270" y="639604"/>
                    <a:pt x="1435175" y="631031"/>
                    <a:pt x="1440890" y="618649"/>
                  </a:cubicBezTo>
                  <a:cubicBezTo>
                    <a:pt x="1455178" y="586264"/>
                    <a:pt x="1478990" y="566261"/>
                    <a:pt x="1513280" y="560546"/>
                  </a:cubicBezTo>
                  <a:cubicBezTo>
                    <a:pt x="1532330" y="558641"/>
                    <a:pt x="1554238" y="550069"/>
                    <a:pt x="1579003" y="534829"/>
                  </a:cubicBezTo>
                  <a:cubicBezTo>
                    <a:pt x="1619008" y="510064"/>
                    <a:pt x="1671395" y="469106"/>
                    <a:pt x="1735213" y="411956"/>
                  </a:cubicBezTo>
                  <a:cubicBezTo>
                    <a:pt x="1799030" y="354806"/>
                    <a:pt x="1842845" y="310991"/>
                    <a:pt x="1864753" y="280511"/>
                  </a:cubicBezTo>
                  <a:cubicBezTo>
                    <a:pt x="1876183" y="265271"/>
                    <a:pt x="1881898" y="248126"/>
                    <a:pt x="1881898" y="229076"/>
                  </a:cubicBezTo>
                  <a:cubicBezTo>
                    <a:pt x="1881898" y="216694"/>
                    <a:pt x="1879040" y="207169"/>
                    <a:pt x="1874278" y="200501"/>
                  </a:cubicBezTo>
                  <a:cubicBezTo>
                    <a:pt x="1869515" y="193834"/>
                    <a:pt x="1856180" y="184309"/>
                    <a:pt x="1835225" y="169069"/>
                  </a:cubicBezTo>
                  <a:cubicBezTo>
                    <a:pt x="1745690" y="107156"/>
                    <a:pt x="1700923" y="55721"/>
                    <a:pt x="1700923" y="15716"/>
                  </a:cubicBezTo>
                  <a:cubicBezTo>
                    <a:pt x="1700923" y="10954"/>
                    <a:pt x="1705685" y="8096"/>
                    <a:pt x="1714258" y="7144"/>
                  </a:cubicBezTo>
                  <a:cubicBezTo>
                    <a:pt x="1719973" y="13811"/>
                    <a:pt x="1727593" y="13811"/>
                    <a:pt x="1737118" y="13811"/>
                  </a:cubicBezTo>
                  <a:lnTo>
                    <a:pt x="1737118" y="13811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8" name="任意多边形: 形状 27"/>
            <p:cNvSpPr/>
            <p:nvPr/>
          </p:nvSpPr>
          <p:spPr>
            <a:xfrm>
              <a:off x="5643813" y="717861"/>
              <a:ext cx="2324100" cy="1828800"/>
            </a:xfrm>
            <a:custGeom>
              <a:avLst/>
              <a:gdLst>
                <a:gd name="connsiteX0" fmla="*/ 228893 w 2324100"/>
                <a:gd name="connsiteY0" fmla="*/ 1364575 h 1828800"/>
                <a:gd name="connsiteX1" fmla="*/ 54586 w 2324100"/>
                <a:gd name="connsiteY1" fmla="*/ 1465540 h 1828800"/>
                <a:gd name="connsiteX2" fmla="*/ 35536 w 2324100"/>
                <a:gd name="connsiteY2" fmla="*/ 1478875 h 1828800"/>
                <a:gd name="connsiteX3" fmla="*/ 137453 w 2324100"/>
                <a:gd name="connsiteY3" fmla="*/ 1465540 h 1828800"/>
                <a:gd name="connsiteX4" fmla="*/ 156503 w 2324100"/>
                <a:gd name="connsiteY4" fmla="*/ 1452205 h 1828800"/>
                <a:gd name="connsiteX5" fmla="*/ 228893 w 2324100"/>
                <a:gd name="connsiteY5" fmla="*/ 1364575 h 1828800"/>
                <a:gd name="connsiteX6" fmla="*/ 228893 w 2324100"/>
                <a:gd name="connsiteY6" fmla="*/ 1364575 h 1828800"/>
                <a:gd name="connsiteX7" fmla="*/ 485116 w 2324100"/>
                <a:gd name="connsiteY7" fmla="*/ 381595 h 1828800"/>
                <a:gd name="connsiteX8" fmla="*/ 733718 w 2324100"/>
                <a:gd name="connsiteY8" fmla="*/ 569238 h 1828800"/>
                <a:gd name="connsiteX9" fmla="*/ 629896 w 2324100"/>
                <a:gd name="connsiteY9" fmla="*/ 836890 h 1828800"/>
                <a:gd name="connsiteX10" fmla="*/ 511786 w 2324100"/>
                <a:gd name="connsiteY10" fmla="*/ 1151215 h 1828800"/>
                <a:gd name="connsiteX11" fmla="*/ 700381 w 2324100"/>
                <a:gd name="connsiteY11" fmla="*/ 1346478 h 1828800"/>
                <a:gd name="connsiteX12" fmla="*/ 710858 w 2324100"/>
                <a:gd name="connsiteY12" fmla="*/ 1433155 h 1828800"/>
                <a:gd name="connsiteX13" fmla="*/ 639421 w 2324100"/>
                <a:gd name="connsiteY13" fmla="*/ 1531263 h 1828800"/>
                <a:gd name="connsiteX14" fmla="*/ 501308 w 2324100"/>
                <a:gd name="connsiteY14" fmla="*/ 1494115 h 1828800"/>
                <a:gd name="connsiteX15" fmla="*/ 467018 w 2324100"/>
                <a:gd name="connsiteY15" fmla="*/ 1465540 h 1828800"/>
                <a:gd name="connsiteX16" fmla="*/ 433681 w 2324100"/>
                <a:gd name="connsiteY16" fmla="*/ 1447443 h 1828800"/>
                <a:gd name="connsiteX17" fmla="*/ 357481 w 2324100"/>
                <a:gd name="connsiteY17" fmla="*/ 1413153 h 1828800"/>
                <a:gd name="connsiteX18" fmla="*/ 177458 w 2324100"/>
                <a:gd name="connsiteY18" fmla="*/ 1636038 h 1828800"/>
                <a:gd name="connsiteX19" fmla="*/ 159361 w 2324100"/>
                <a:gd name="connsiteY19" fmla="*/ 1660803 h 1828800"/>
                <a:gd name="connsiteX20" fmla="*/ 20296 w 2324100"/>
                <a:gd name="connsiteY20" fmla="*/ 1701760 h 1828800"/>
                <a:gd name="connsiteX21" fmla="*/ 21248 w 2324100"/>
                <a:gd name="connsiteY21" fmla="*/ 1624608 h 1828800"/>
                <a:gd name="connsiteX22" fmla="*/ 9818 w 2324100"/>
                <a:gd name="connsiteY22" fmla="*/ 1438870 h 1828800"/>
                <a:gd name="connsiteX23" fmla="*/ 104116 w 2324100"/>
                <a:gd name="connsiteY23" fmla="*/ 1184553 h 1828800"/>
                <a:gd name="connsiteX24" fmla="*/ 198413 w 2324100"/>
                <a:gd name="connsiteY24" fmla="*/ 1105495 h 1828800"/>
                <a:gd name="connsiteX25" fmla="*/ 333668 w 2324100"/>
                <a:gd name="connsiteY25" fmla="*/ 1119783 h 1828800"/>
                <a:gd name="connsiteX26" fmla="*/ 426061 w 2324100"/>
                <a:gd name="connsiteY26" fmla="*/ 1117878 h 1828800"/>
                <a:gd name="connsiteX27" fmla="*/ 471781 w 2324100"/>
                <a:gd name="connsiteY27" fmla="*/ 979765 h 1828800"/>
                <a:gd name="connsiteX28" fmla="*/ 547981 w 2324100"/>
                <a:gd name="connsiteY28" fmla="*/ 572095 h 1828800"/>
                <a:gd name="connsiteX29" fmla="*/ 412726 w 2324100"/>
                <a:gd name="connsiteY29" fmla="*/ 645438 h 1828800"/>
                <a:gd name="connsiteX30" fmla="*/ 122213 w 2324100"/>
                <a:gd name="connsiteY30" fmla="*/ 805458 h 1828800"/>
                <a:gd name="connsiteX31" fmla="*/ 30773 w 2324100"/>
                <a:gd name="connsiteY31" fmla="*/ 729258 h 1828800"/>
                <a:gd name="connsiteX32" fmla="*/ 485116 w 2324100"/>
                <a:gd name="connsiteY32" fmla="*/ 381595 h 1828800"/>
                <a:gd name="connsiteX33" fmla="*/ 485116 w 2324100"/>
                <a:gd name="connsiteY33" fmla="*/ 381595 h 1828800"/>
                <a:gd name="connsiteX34" fmla="*/ 1956728 w 2324100"/>
                <a:gd name="connsiteY34" fmla="*/ 1495068 h 1828800"/>
                <a:gd name="connsiteX35" fmla="*/ 1951966 w 2324100"/>
                <a:gd name="connsiteY35" fmla="*/ 1503640 h 1828800"/>
                <a:gd name="connsiteX36" fmla="*/ 1990066 w 2324100"/>
                <a:gd name="connsiteY36" fmla="*/ 1520785 h 1828800"/>
                <a:gd name="connsiteX37" fmla="*/ 2012926 w 2324100"/>
                <a:gd name="connsiteY37" fmla="*/ 1534120 h 1828800"/>
                <a:gd name="connsiteX38" fmla="*/ 2027213 w 2324100"/>
                <a:gd name="connsiteY38" fmla="*/ 1541740 h 1828800"/>
                <a:gd name="connsiteX39" fmla="*/ 2074838 w 2324100"/>
                <a:gd name="connsiteY39" fmla="*/ 1559838 h 1828800"/>
                <a:gd name="connsiteX40" fmla="*/ 2119606 w 2324100"/>
                <a:gd name="connsiteY40" fmla="*/ 1586508 h 1828800"/>
                <a:gd name="connsiteX41" fmla="*/ 2203426 w 2324100"/>
                <a:gd name="connsiteY41" fmla="*/ 1624608 h 1828800"/>
                <a:gd name="connsiteX42" fmla="*/ 2293913 w 2324100"/>
                <a:gd name="connsiteY42" fmla="*/ 1687473 h 1828800"/>
                <a:gd name="connsiteX43" fmla="*/ 2321536 w 2324100"/>
                <a:gd name="connsiteY43" fmla="*/ 1754148 h 1828800"/>
                <a:gd name="connsiteX44" fmla="*/ 2299628 w 2324100"/>
                <a:gd name="connsiteY44" fmla="*/ 1804630 h 1828800"/>
                <a:gd name="connsiteX45" fmla="*/ 2250098 w 2324100"/>
                <a:gd name="connsiteY45" fmla="*/ 1822728 h 1828800"/>
                <a:gd name="connsiteX46" fmla="*/ 2081506 w 2324100"/>
                <a:gd name="connsiteY46" fmla="*/ 1785580 h 1828800"/>
                <a:gd name="connsiteX47" fmla="*/ 1509053 w 2324100"/>
                <a:gd name="connsiteY47" fmla="*/ 1373148 h 1828800"/>
                <a:gd name="connsiteX48" fmla="*/ 1349033 w 2324100"/>
                <a:gd name="connsiteY48" fmla="*/ 1184553 h 1828800"/>
                <a:gd name="connsiteX49" fmla="*/ 1317601 w 2324100"/>
                <a:gd name="connsiteY49" fmla="*/ 1147405 h 1828800"/>
                <a:gd name="connsiteX50" fmla="*/ 1290931 w 2324100"/>
                <a:gd name="connsiteY50" fmla="*/ 1125498 h 1828800"/>
                <a:gd name="connsiteX51" fmla="*/ 1237591 w 2324100"/>
                <a:gd name="connsiteY51" fmla="*/ 1182648 h 1828800"/>
                <a:gd name="connsiteX52" fmla="*/ 1179488 w 2324100"/>
                <a:gd name="connsiteY52" fmla="*/ 1299805 h 1828800"/>
                <a:gd name="connsiteX53" fmla="*/ 1091858 w 2324100"/>
                <a:gd name="connsiteY53" fmla="*/ 1475065 h 1828800"/>
                <a:gd name="connsiteX54" fmla="*/ 1040423 w 2324100"/>
                <a:gd name="connsiteY54" fmla="*/ 1569363 h 1828800"/>
                <a:gd name="connsiteX55" fmla="*/ 1009943 w 2324100"/>
                <a:gd name="connsiteY55" fmla="*/ 1615083 h 1828800"/>
                <a:gd name="connsiteX56" fmla="*/ 999466 w 2324100"/>
                <a:gd name="connsiteY56" fmla="*/ 1627465 h 1828800"/>
                <a:gd name="connsiteX57" fmla="*/ 968033 w 2324100"/>
                <a:gd name="connsiteY57" fmla="*/ 1679853 h 1828800"/>
                <a:gd name="connsiteX58" fmla="*/ 918503 w 2324100"/>
                <a:gd name="connsiteY58" fmla="*/ 1709380 h 1828800"/>
                <a:gd name="connsiteX59" fmla="*/ 839446 w 2324100"/>
                <a:gd name="connsiteY59" fmla="*/ 1660803 h 1828800"/>
                <a:gd name="connsiteX60" fmla="*/ 786106 w 2324100"/>
                <a:gd name="connsiteY60" fmla="*/ 1587460 h 1828800"/>
                <a:gd name="connsiteX61" fmla="*/ 774676 w 2324100"/>
                <a:gd name="connsiteY61" fmla="*/ 1560790 h 1828800"/>
                <a:gd name="connsiteX62" fmla="*/ 769913 w 2324100"/>
                <a:gd name="connsiteY62" fmla="*/ 1540788 h 1828800"/>
                <a:gd name="connsiteX63" fmla="*/ 763246 w 2324100"/>
                <a:gd name="connsiteY63" fmla="*/ 1494115 h 1828800"/>
                <a:gd name="connsiteX64" fmla="*/ 757531 w 2324100"/>
                <a:gd name="connsiteY64" fmla="*/ 1456968 h 1828800"/>
                <a:gd name="connsiteX65" fmla="*/ 779438 w 2324100"/>
                <a:gd name="connsiteY65" fmla="*/ 1407438 h 1828800"/>
                <a:gd name="connsiteX66" fmla="*/ 836588 w 2324100"/>
                <a:gd name="connsiteY66" fmla="*/ 1322665 h 1828800"/>
                <a:gd name="connsiteX67" fmla="*/ 865163 w 2324100"/>
                <a:gd name="connsiteY67" fmla="*/ 1279803 h 1828800"/>
                <a:gd name="connsiteX68" fmla="*/ 874688 w 2324100"/>
                <a:gd name="connsiteY68" fmla="*/ 1263610 h 1828800"/>
                <a:gd name="connsiteX69" fmla="*/ 1069951 w 2324100"/>
                <a:gd name="connsiteY69" fmla="*/ 932140 h 1828800"/>
                <a:gd name="connsiteX70" fmla="*/ 1253783 w 2324100"/>
                <a:gd name="connsiteY70" fmla="*/ 541615 h 1828800"/>
                <a:gd name="connsiteX71" fmla="*/ 1283311 w 2324100"/>
                <a:gd name="connsiteY71" fmla="*/ 368260 h 1828800"/>
                <a:gd name="connsiteX72" fmla="*/ 1135673 w 2324100"/>
                <a:gd name="connsiteY72" fmla="*/ 473035 h 1828800"/>
                <a:gd name="connsiteX73" fmla="*/ 1040423 w 2324100"/>
                <a:gd name="connsiteY73" fmla="*/ 562570 h 1828800"/>
                <a:gd name="connsiteX74" fmla="*/ 939458 w 2324100"/>
                <a:gd name="connsiteY74" fmla="*/ 664488 h 1828800"/>
                <a:gd name="connsiteX75" fmla="*/ 878498 w 2324100"/>
                <a:gd name="connsiteY75" fmla="*/ 714018 h 1828800"/>
                <a:gd name="connsiteX76" fmla="*/ 834683 w 2324100"/>
                <a:gd name="connsiteY76" fmla="*/ 684490 h 1828800"/>
                <a:gd name="connsiteX77" fmla="*/ 789916 w 2324100"/>
                <a:gd name="connsiteY77" fmla="*/ 591145 h 1828800"/>
                <a:gd name="connsiteX78" fmla="*/ 805156 w 2324100"/>
                <a:gd name="connsiteY78" fmla="*/ 497800 h 1828800"/>
                <a:gd name="connsiteX79" fmla="*/ 874688 w 2324100"/>
                <a:gd name="connsiteY79" fmla="*/ 377785 h 1828800"/>
                <a:gd name="connsiteX80" fmla="*/ 937553 w 2324100"/>
                <a:gd name="connsiteY80" fmla="*/ 225385 h 1828800"/>
                <a:gd name="connsiteX81" fmla="*/ 963271 w 2324100"/>
                <a:gd name="connsiteY81" fmla="*/ 64413 h 1828800"/>
                <a:gd name="connsiteX82" fmla="*/ 963271 w 2324100"/>
                <a:gd name="connsiteY82" fmla="*/ 10120 h 1828800"/>
                <a:gd name="connsiteX83" fmla="*/ 1009943 w 2324100"/>
                <a:gd name="connsiteY83" fmla="*/ 12978 h 1828800"/>
                <a:gd name="connsiteX84" fmla="*/ 1067093 w 2324100"/>
                <a:gd name="connsiteY84" fmla="*/ 86320 h 1828800"/>
                <a:gd name="connsiteX85" fmla="*/ 1103288 w 2324100"/>
                <a:gd name="connsiteY85" fmla="*/ 224433 h 1828800"/>
                <a:gd name="connsiteX86" fmla="*/ 1118528 w 2324100"/>
                <a:gd name="connsiteY86" fmla="*/ 314920 h 1828800"/>
                <a:gd name="connsiteX87" fmla="*/ 1235686 w 2324100"/>
                <a:gd name="connsiteY87" fmla="*/ 252055 h 1828800"/>
                <a:gd name="connsiteX88" fmla="*/ 1526198 w 2324100"/>
                <a:gd name="connsiteY88" fmla="*/ 87273 h 1828800"/>
                <a:gd name="connsiteX89" fmla="*/ 1660501 w 2324100"/>
                <a:gd name="connsiteY89" fmla="*/ 44410 h 1828800"/>
                <a:gd name="connsiteX90" fmla="*/ 1762418 w 2324100"/>
                <a:gd name="connsiteY90" fmla="*/ 77748 h 1828800"/>
                <a:gd name="connsiteX91" fmla="*/ 1831951 w 2324100"/>
                <a:gd name="connsiteY91" fmla="*/ 135850 h 1828800"/>
                <a:gd name="connsiteX92" fmla="*/ 1825283 w 2324100"/>
                <a:gd name="connsiteY92" fmla="*/ 196810 h 1828800"/>
                <a:gd name="connsiteX93" fmla="*/ 1790993 w 2324100"/>
                <a:gd name="connsiteY93" fmla="*/ 232053 h 1828800"/>
                <a:gd name="connsiteX94" fmla="*/ 1768133 w 2324100"/>
                <a:gd name="connsiteY94" fmla="*/ 248245 h 1828800"/>
                <a:gd name="connsiteX95" fmla="*/ 1750036 w 2324100"/>
                <a:gd name="connsiteY95" fmla="*/ 260628 h 1828800"/>
                <a:gd name="connsiteX96" fmla="*/ 1669073 w 2324100"/>
                <a:gd name="connsiteY96" fmla="*/ 284440 h 1828800"/>
                <a:gd name="connsiteX97" fmla="*/ 1578586 w 2324100"/>
                <a:gd name="connsiteY97" fmla="*/ 306348 h 1828800"/>
                <a:gd name="connsiteX98" fmla="*/ 1530008 w 2324100"/>
                <a:gd name="connsiteY98" fmla="*/ 324445 h 1828800"/>
                <a:gd name="connsiteX99" fmla="*/ 1390943 w 2324100"/>
                <a:gd name="connsiteY99" fmla="*/ 739735 h 1828800"/>
                <a:gd name="connsiteX100" fmla="*/ 1366178 w 2324100"/>
                <a:gd name="connsiteY100" fmla="*/ 842605 h 1828800"/>
                <a:gd name="connsiteX101" fmla="*/ 1335698 w 2324100"/>
                <a:gd name="connsiteY101" fmla="*/ 944523 h 1828800"/>
                <a:gd name="connsiteX102" fmla="*/ 1313791 w 2324100"/>
                <a:gd name="connsiteY102" fmla="*/ 1015008 h 1828800"/>
                <a:gd name="connsiteX103" fmla="*/ 1354748 w 2324100"/>
                <a:gd name="connsiteY103" fmla="*/ 1074063 h 1828800"/>
                <a:gd name="connsiteX104" fmla="*/ 1453808 w 2324100"/>
                <a:gd name="connsiteY104" fmla="*/ 1163598 h 1828800"/>
                <a:gd name="connsiteX105" fmla="*/ 1570966 w 2324100"/>
                <a:gd name="connsiteY105" fmla="*/ 1268373 h 1828800"/>
                <a:gd name="connsiteX106" fmla="*/ 1667168 w 2324100"/>
                <a:gd name="connsiteY106" fmla="*/ 1348383 h 1828800"/>
                <a:gd name="connsiteX107" fmla="*/ 1713841 w 2324100"/>
                <a:gd name="connsiteY107" fmla="*/ 1377910 h 1828800"/>
                <a:gd name="connsiteX108" fmla="*/ 1956728 w 2324100"/>
                <a:gd name="connsiteY108" fmla="*/ 1495068 h 1828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</a:cxnLst>
              <a:rect l="l" t="t" r="r" b="b"/>
              <a:pathLst>
                <a:path w="2324100" h="1828800">
                  <a:moveTo>
                    <a:pt x="228893" y="1364575"/>
                  </a:moveTo>
                  <a:cubicBezTo>
                    <a:pt x="180316" y="1363623"/>
                    <a:pt x="122213" y="1397913"/>
                    <a:pt x="54586" y="1465540"/>
                  </a:cubicBezTo>
                  <a:cubicBezTo>
                    <a:pt x="48871" y="1474113"/>
                    <a:pt x="42203" y="1477923"/>
                    <a:pt x="35536" y="1478875"/>
                  </a:cubicBezTo>
                  <a:cubicBezTo>
                    <a:pt x="35536" y="1537930"/>
                    <a:pt x="68873" y="1533168"/>
                    <a:pt x="137453" y="1465540"/>
                  </a:cubicBezTo>
                  <a:lnTo>
                    <a:pt x="156503" y="1452205"/>
                  </a:lnTo>
                  <a:cubicBezTo>
                    <a:pt x="174601" y="1427440"/>
                    <a:pt x="198413" y="1398865"/>
                    <a:pt x="228893" y="1364575"/>
                  </a:cubicBezTo>
                  <a:lnTo>
                    <a:pt x="228893" y="1364575"/>
                  </a:lnTo>
                  <a:close/>
                  <a:moveTo>
                    <a:pt x="485116" y="381595"/>
                  </a:moveTo>
                  <a:cubicBezTo>
                    <a:pt x="622276" y="377785"/>
                    <a:pt x="705143" y="440650"/>
                    <a:pt x="733718" y="569238"/>
                  </a:cubicBezTo>
                  <a:cubicBezTo>
                    <a:pt x="695618" y="654963"/>
                    <a:pt x="661328" y="744498"/>
                    <a:pt x="629896" y="836890"/>
                  </a:cubicBezTo>
                  <a:cubicBezTo>
                    <a:pt x="594653" y="945475"/>
                    <a:pt x="554648" y="1049298"/>
                    <a:pt x="511786" y="1151215"/>
                  </a:cubicBezTo>
                  <a:cubicBezTo>
                    <a:pt x="626086" y="1187410"/>
                    <a:pt x="688951" y="1252180"/>
                    <a:pt x="700381" y="1346478"/>
                  </a:cubicBezTo>
                  <a:lnTo>
                    <a:pt x="710858" y="1433155"/>
                  </a:lnTo>
                  <a:cubicBezTo>
                    <a:pt x="710858" y="1492210"/>
                    <a:pt x="687046" y="1524595"/>
                    <a:pt x="639421" y="1531263"/>
                  </a:cubicBezTo>
                  <a:cubicBezTo>
                    <a:pt x="606083" y="1542693"/>
                    <a:pt x="560363" y="1530310"/>
                    <a:pt x="501308" y="1494115"/>
                  </a:cubicBezTo>
                  <a:cubicBezTo>
                    <a:pt x="486068" y="1480780"/>
                    <a:pt x="474638" y="1472208"/>
                    <a:pt x="467018" y="1465540"/>
                  </a:cubicBezTo>
                  <a:cubicBezTo>
                    <a:pt x="453683" y="1467445"/>
                    <a:pt x="442253" y="1460778"/>
                    <a:pt x="433681" y="1447443"/>
                  </a:cubicBezTo>
                  <a:cubicBezTo>
                    <a:pt x="396533" y="1422678"/>
                    <a:pt x="370816" y="1412200"/>
                    <a:pt x="357481" y="1413153"/>
                  </a:cubicBezTo>
                  <a:cubicBezTo>
                    <a:pt x="297473" y="1487448"/>
                    <a:pt x="237466" y="1561743"/>
                    <a:pt x="177458" y="1636038"/>
                  </a:cubicBezTo>
                  <a:cubicBezTo>
                    <a:pt x="171743" y="1644610"/>
                    <a:pt x="165076" y="1652230"/>
                    <a:pt x="159361" y="1660803"/>
                  </a:cubicBezTo>
                  <a:cubicBezTo>
                    <a:pt x="66968" y="1754148"/>
                    <a:pt x="21248" y="1767483"/>
                    <a:pt x="20296" y="1701760"/>
                  </a:cubicBezTo>
                  <a:cubicBezTo>
                    <a:pt x="18391" y="1687473"/>
                    <a:pt x="18391" y="1661755"/>
                    <a:pt x="21248" y="1624608"/>
                  </a:cubicBezTo>
                  <a:cubicBezTo>
                    <a:pt x="38393" y="1534120"/>
                    <a:pt x="34583" y="1472208"/>
                    <a:pt x="9818" y="1438870"/>
                  </a:cubicBezTo>
                  <a:cubicBezTo>
                    <a:pt x="-2564" y="1389340"/>
                    <a:pt x="27916" y="1304568"/>
                    <a:pt x="104116" y="1184553"/>
                  </a:cubicBezTo>
                  <a:cubicBezTo>
                    <a:pt x="132691" y="1135975"/>
                    <a:pt x="164123" y="1110258"/>
                    <a:pt x="198413" y="1105495"/>
                  </a:cubicBezTo>
                  <a:cubicBezTo>
                    <a:pt x="246038" y="1106448"/>
                    <a:pt x="291758" y="1111210"/>
                    <a:pt x="333668" y="1119783"/>
                  </a:cubicBezTo>
                  <a:cubicBezTo>
                    <a:pt x="367958" y="1122640"/>
                    <a:pt x="399391" y="1121688"/>
                    <a:pt x="426061" y="1117878"/>
                  </a:cubicBezTo>
                  <a:cubicBezTo>
                    <a:pt x="428918" y="1088350"/>
                    <a:pt x="444158" y="1041678"/>
                    <a:pt x="471781" y="979765"/>
                  </a:cubicBezTo>
                  <a:cubicBezTo>
                    <a:pt x="533693" y="802600"/>
                    <a:pt x="558458" y="666393"/>
                    <a:pt x="547981" y="572095"/>
                  </a:cubicBezTo>
                  <a:cubicBezTo>
                    <a:pt x="503213" y="600670"/>
                    <a:pt x="457493" y="625435"/>
                    <a:pt x="412726" y="645438"/>
                  </a:cubicBezTo>
                  <a:cubicBezTo>
                    <a:pt x="275566" y="707350"/>
                    <a:pt x="179363" y="760690"/>
                    <a:pt x="122213" y="805458"/>
                  </a:cubicBezTo>
                  <a:cubicBezTo>
                    <a:pt x="73636" y="804505"/>
                    <a:pt x="43156" y="779740"/>
                    <a:pt x="30773" y="729258"/>
                  </a:cubicBezTo>
                  <a:cubicBezTo>
                    <a:pt x="9818" y="548283"/>
                    <a:pt x="161266" y="433030"/>
                    <a:pt x="485116" y="381595"/>
                  </a:cubicBezTo>
                  <a:lnTo>
                    <a:pt x="485116" y="381595"/>
                  </a:lnTo>
                  <a:close/>
                  <a:moveTo>
                    <a:pt x="1956728" y="1495068"/>
                  </a:moveTo>
                  <a:cubicBezTo>
                    <a:pt x="1954823" y="1497925"/>
                    <a:pt x="1953871" y="1500783"/>
                    <a:pt x="1951966" y="1503640"/>
                  </a:cubicBezTo>
                  <a:lnTo>
                    <a:pt x="1990066" y="1520785"/>
                  </a:lnTo>
                  <a:cubicBezTo>
                    <a:pt x="2006258" y="1520785"/>
                    <a:pt x="2012926" y="1525548"/>
                    <a:pt x="2012926" y="1534120"/>
                  </a:cubicBezTo>
                  <a:cubicBezTo>
                    <a:pt x="2012926" y="1543645"/>
                    <a:pt x="2017688" y="1545550"/>
                    <a:pt x="2027213" y="1541740"/>
                  </a:cubicBezTo>
                  <a:cubicBezTo>
                    <a:pt x="2036738" y="1536978"/>
                    <a:pt x="2052931" y="1543645"/>
                    <a:pt x="2074838" y="1559838"/>
                  </a:cubicBezTo>
                  <a:cubicBezTo>
                    <a:pt x="2096746" y="1576030"/>
                    <a:pt x="2111986" y="1585555"/>
                    <a:pt x="2119606" y="1586508"/>
                  </a:cubicBezTo>
                  <a:cubicBezTo>
                    <a:pt x="2131988" y="1586508"/>
                    <a:pt x="2159611" y="1599843"/>
                    <a:pt x="2203426" y="1624608"/>
                  </a:cubicBezTo>
                  <a:cubicBezTo>
                    <a:pt x="2247241" y="1650325"/>
                    <a:pt x="2276768" y="1671280"/>
                    <a:pt x="2293913" y="1687473"/>
                  </a:cubicBezTo>
                  <a:cubicBezTo>
                    <a:pt x="2318678" y="1710333"/>
                    <a:pt x="2327251" y="1733193"/>
                    <a:pt x="2321536" y="1754148"/>
                  </a:cubicBezTo>
                  <a:cubicBezTo>
                    <a:pt x="2316773" y="1778913"/>
                    <a:pt x="2309153" y="1796058"/>
                    <a:pt x="2299628" y="1804630"/>
                  </a:cubicBezTo>
                  <a:cubicBezTo>
                    <a:pt x="2289151" y="1813203"/>
                    <a:pt x="2272958" y="1819870"/>
                    <a:pt x="2250098" y="1822728"/>
                  </a:cubicBezTo>
                  <a:cubicBezTo>
                    <a:pt x="2211998" y="1830348"/>
                    <a:pt x="2155801" y="1817965"/>
                    <a:pt x="2081506" y="1785580"/>
                  </a:cubicBezTo>
                  <a:cubicBezTo>
                    <a:pt x="2079601" y="1784628"/>
                    <a:pt x="1667168" y="1582698"/>
                    <a:pt x="1509053" y="1373148"/>
                  </a:cubicBezTo>
                  <a:cubicBezTo>
                    <a:pt x="1421423" y="1256943"/>
                    <a:pt x="1356653" y="1205508"/>
                    <a:pt x="1349033" y="1184553"/>
                  </a:cubicBezTo>
                  <a:cubicBezTo>
                    <a:pt x="1340461" y="1164550"/>
                    <a:pt x="1330936" y="1152168"/>
                    <a:pt x="1317601" y="1147405"/>
                  </a:cubicBezTo>
                  <a:cubicBezTo>
                    <a:pt x="1304266" y="1142643"/>
                    <a:pt x="1295693" y="1135023"/>
                    <a:pt x="1290931" y="1125498"/>
                  </a:cubicBezTo>
                  <a:cubicBezTo>
                    <a:pt x="1281406" y="1114068"/>
                    <a:pt x="1264261" y="1132165"/>
                    <a:pt x="1237591" y="1182648"/>
                  </a:cubicBezTo>
                  <a:cubicBezTo>
                    <a:pt x="1223303" y="1209318"/>
                    <a:pt x="1204253" y="1248370"/>
                    <a:pt x="1179488" y="1299805"/>
                  </a:cubicBezTo>
                  <a:cubicBezTo>
                    <a:pt x="1142341" y="1384578"/>
                    <a:pt x="1112813" y="1441728"/>
                    <a:pt x="1091858" y="1475065"/>
                  </a:cubicBezTo>
                  <a:cubicBezTo>
                    <a:pt x="1070903" y="1507450"/>
                    <a:pt x="1053758" y="1537930"/>
                    <a:pt x="1040423" y="1569363"/>
                  </a:cubicBezTo>
                  <a:cubicBezTo>
                    <a:pt x="1027088" y="1599843"/>
                    <a:pt x="1017563" y="1615083"/>
                    <a:pt x="1009943" y="1615083"/>
                  </a:cubicBezTo>
                  <a:cubicBezTo>
                    <a:pt x="1003276" y="1615083"/>
                    <a:pt x="999466" y="1619845"/>
                    <a:pt x="999466" y="1627465"/>
                  </a:cubicBezTo>
                  <a:cubicBezTo>
                    <a:pt x="999466" y="1641753"/>
                    <a:pt x="988988" y="1659850"/>
                    <a:pt x="968033" y="1679853"/>
                  </a:cubicBezTo>
                  <a:cubicBezTo>
                    <a:pt x="947078" y="1699855"/>
                    <a:pt x="930886" y="1709380"/>
                    <a:pt x="918503" y="1709380"/>
                  </a:cubicBezTo>
                  <a:cubicBezTo>
                    <a:pt x="901358" y="1709380"/>
                    <a:pt x="875641" y="1694140"/>
                    <a:pt x="839446" y="1660803"/>
                  </a:cubicBezTo>
                  <a:cubicBezTo>
                    <a:pt x="804203" y="1628418"/>
                    <a:pt x="786106" y="1604605"/>
                    <a:pt x="786106" y="1587460"/>
                  </a:cubicBezTo>
                  <a:cubicBezTo>
                    <a:pt x="786106" y="1574125"/>
                    <a:pt x="782296" y="1565553"/>
                    <a:pt x="774676" y="1560790"/>
                  </a:cubicBezTo>
                  <a:cubicBezTo>
                    <a:pt x="766103" y="1556028"/>
                    <a:pt x="765151" y="1549360"/>
                    <a:pt x="769913" y="1540788"/>
                  </a:cubicBezTo>
                  <a:cubicBezTo>
                    <a:pt x="774676" y="1532215"/>
                    <a:pt x="771818" y="1516975"/>
                    <a:pt x="763246" y="1494115"/>
                  </a:cubicBezTo>
                  <a:cubicBezTo>
                    <a:pt x="756578" y="1478875"/>
                    <a:pt x="754673" y="1466493"/>
                    <a:pt x="757531" y="1456968"/>
                  </a:cubicBezTo>
                  <a:cubicBezTo>
                    <a:pt x="760388" y="1446490"/>
                    <a:pt x="767056" y="1430298"/>
                    <a:pt x="779438" y="1407438"/>
                  </a:cubicBezTo>
                  <a:cubicBezTo>
                    <a:pt x="797536" y="1373148"/>
                    <a:pt x="816586" y="1344573"/>
                    <a:pt x="836588" y="1322665"/>
                  </a:cubicBezTo>
                  <a:cubicBezTo>
                    <a:pt x="855638" y="1301710"/>
                    <a:pt x="865163" y="1287423"/>
                    <a:pt x="865163" y="1279803"/>
                  </a:cubicBezTo>
                  <a:cubicBezTo>
                    <a:pt x="865163" y="1272183"/>
                    <a:pt x="868021" y="1266468"/>
                    <a:pt x="874688" y="1263610"/>
                  </a:cubicBezTo>
                  <a:cubicBezTo>
                    <a:pt x="892786" y="1255038"/>
                    <a:pt x="958508" y="1145500"/>
                    <a:pt x="1069951" y="932140"/>
                  </a:cubicBezTo>
                  <a:cubicBezTo>
                    <a:pt x="1181393" y="719733"/>
                    <a:pt x="1242353" y="589240"/>
                    <a:pt x="1253783" y="541615"/>
                  </a:cubicBezTo>
                  <a:cubicBezTo>
                    <a:pt x="1258546" y="519708"/>
                    <a:pt x="1320458" y="349210"/>
                    <a:pt x="1283311" y="368260"/>
                  </a:cubicBezTo>
                  <a:cubicBezTo>
                    <a:pt x="1218541" y="410170"/>
                    <a:pt x="1169963" y="444460"/>
                    <a:pt x="1135673" y="473035"/>
                  </a:cubicBezTo>
                  <a:cubicBezTo>
                    <a:pt x="1102336" y="499705"/>
                    <a:pt x="1069951" y="529233"/>
                    <a:pt x="1040423" y="562570"/>
                  </a:cubicBezTo>
                  <a:cubicBezTo>
                    <a:pt x="1009943" y="596860"/>
                    <a:pt x="975653" y="631150"/>
                    <a:pt x="939458" y="664488"/>
                  </a:cubicBezTo>
                  <a:cubicBezTo>
                    <a:pt x="903263" y="697825"/>
                    <a:pt x="883261" y="714018"/>
                    <a:pt x="878498" y="714018"/>
                  </a:cubicBezTo>
                  <a:cubicBezTo>
                    <a:pt x="872783" y="714018"/>
                    <a:pt x="857543" y="704493"/>
                    <a:pt x="834683" y="684490"/>
                  </a:cubicBezTo>
                  <a:cubicBezTo>
                    <a:pt x="811823" y="662583"/>
                    <a:pt x="796583" y="632103"/>
                    <a:pt x="789916" y="591145"/>
                  </a:cubicBezTo>
                  <a:cubicBezTo>
                    <a:pt x="783248" y="550188"/>
                    <a:pt x="788011" y="519708"/>
                    <a:pt x="805156" y="497800"/>
                  </a:cubicBezTo>
                  <a:cubicBezTo>
                    <a:pt x="825158" y="473035"/>
                    <a:pt x="848018" y="433030"/>
                    <a:pt x="874688" y="377785"/>
                  </a:cubicBezTo>
                  <a:cubicBezTo>
                    <a:pt x="901358" y="322540"/>
                    <a:pt x="922313" y="272058"/>
                    <a:pt x="937553" y="225385"/>
                  </a:cubicBezTo>
                  <a:cubicBezTo>
                    <a:pt x="959461" y="154900"/>
                    <a:pt x="968033" y="100608"/>
                    <a:pt x="963271" y="64413"/>
                  </a:cubicBezTo>
                  <a:cubicBezTo>
                    <a:pt x="958508" y="32980"/>
                    <a:pt x="958508" y="14883"/>
                    <a:pt x="963271" y="10120"/>
                  </a:cubicBezTo>
                  <a:cubicBezTo>
                    <a:pt x="968033" y="5358"/>
                    <a:pt x="983273" y="6310"/>
                    <a:pt x="1009943" y="12978"/>
                  </a:cubicBezTo>
                  <a:cubicBezTo>
                    <a:pt x="1028041" y="19645"/>
                    <a:pt x="1047091" y="43458"/>
                    <a:pt x="1067093" y="86320"/>
                  </a:cubicBezTo>
                  <a:cubicBezTo>
                    <a:pt x="1086143" y="128230"/>
                    <a:pt x="1097573" y="174903"/>
                    <a:pt x="1103288" y="224433"/>
                  </a:cubicBezTo>
                  <a:cubicBezTo>
                    <a:pt x="1110908" y="282535"/>
                    <a:pt x="1116623" y="312063"/>
                    <a:pt x="1118528" y="314920"/>
                  </a:cubicBezTo>
                  <a:cubicBezTo>
                    <a:pt x="1120433" y="316825"/>
                    <a:pt x="1159486" y="296823"/>
                    <a:pt x="1235686" y="252055"/>
                  </a:cubicBezTo>
                  <a:cubicBezTo>
                    <a:pt x="1369988" y="171093"/>
                    <a:pt x="1467143" y="115848"/>
                    <a:pt x="1526198" y="87273"/>
                  </a:cubicBezTo>
                  <a:cubicBezTo>
                    <a:pt x="1585253" y="58698"/>
                    <a:pt x="1630021" y="44410"/>
                    <a:pt x="1660501" y="44410"/>
                  </a:cubicBezTo>
                  <a:cubicBezTo>
                    <a:pt x="1686218" y="44410"/>
                    <a:pt x="1720508" y="55840"/>
                    <a:pt x="1762418" y="77748"/>
                  </a:cubicBezTo>
                  <a:cubicBezTo>
                    <a:pt x="1804328" y="99655"/>
                    <a:pt x="1827188" y="119658"/>
                    <a:pt x="1831951" y="135850"/>
                  </a:cubicBezTo>
                  <a:cubicBezTo>
                    <a:pt x="1836713" y="154900"/>
                    <a:pt x="1833856" y="175855"/>
                    <a:pt x="1825283" y="196810"/>
                  </a:cubicBezTo>
                  <a:cubicBezTo>
                    <a:pt x="1815758" y="217765"/>
                    <a:pt x="1804328" y="229195"/>
                    <a:pt x="1790993" y="232053"/>
                  </a:cubicBezTo>
                  <a:cubicBezTo>
                    <a:pt x="1774801" y="234910"/>
                    <a:pt x="1768133" y="240625"/>
                    <a:pt x="1768133" y="248245"/>
                  </a:cubicBezTo>
                  <a:cubicBezTo>
                    <a:pt x="1768133" y="255865"/>
                    <a:pt x="1762418" y="259675"/>
                    <a:pt x="1750036" y="260628"/>
                  </a:cubicBezTo>
                  <a:cubicBezTo>
                    <a:pt x="1737653" y="261580"/>
                    <a:pt x="1710031" y="270153"/>
                    <a:pt x="1669073" y="284440"/>
                  </a:cubicBezTo>
                  <a:cubicBezTo>
                    <a:pt x="1627163" y="298728"/>
                    <a:pt x="1596683" y="306348"/>
                    <a:pt x="1578586" y="306348"/>
                  </a:cubicBezTo>
                  <a:cubicBezTo>
                    <a:pt x="1562393" y="306348"/>
                    <a:pt x="1546201" y="312063"/>
                    <a:pt x="1530008" y="324445"/>
                  </a:cubicBezTo>
                  <a:cubicBezTo>
                    <a:pt x="1512863" y="336828"/>
                    <a:pt x="1424281" y="629245"/>
                    <a:pt x="1390943" y="739735"/>
                  </a:cubicBezTo>
                  <a:cubicBezTo>
                    <a:pt x="1380466" y="775930"/>
                    <a:pt x="1371893" y="810220"/>
                    <a:pt x="1366178" y="842605"/>
                  </a:cubicBezTo>
                  <a:cubicBezTo>
                    <a:pt x="1360463" y="874990"/>
                    <a:pt x="1349986" y="908328"/>
                    <a:pt x="1335698" y="944523"/>
                  </a:cubicBezTo>
                  <a:cubicBezTo>
                    <a:pt x="1321411" y="979765"/>
                    <a:pt x="1313791" y="1003578"/>
                    <a:pt x="1313791" y="1015008"/>
                  </a:cubicBezTo>
                  <a:cubicBezTo>
                    <a:pt x="1315696" y="1026438"/>
                    <a:pt x="1329031" y="1046440"/>
                    <a:pt x="1354748" y="1074063"/>
                  </a:cubicBezTo>
                  <a:cubicBezTo>
                    <a:pt x="1380466" y="1102638"/>
                    <a:pt x="1413803" y="1132165"/>
                    <a:pt x="1453808" y="1163598"/>
                  </a:cubicBezTo>
                  <a:cubicBezTo>
                    <a:pt x="1495718" y="1195030"/>
                    <a:pt x="1534771" y="1230273"/>
                    <a:pt x="1570966" y="1268373"/>
                  </a:cubicBezTo>
                  <a:cubicBezTo>
                    <a:pt x="1607161" y="1306473"/>
                    <a:pt x="1639546" y="1333143"/>
                    <a:pt x="1667168" y="1348383"/>
                  </a:cubicBezTo>
                  <a:cubicBezTo>
                    <a:pt x="1695743" y="1362670"/>
                    <a:pt x="1710983" y="1373148"/>
                    <a:pt x="1713841" y="1377910"/>
                  </a:cubicBezTo>
                  <a:lnTo>
                    <a:pt x="1956728" y="1495068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  <p:sp>
        <p:nvSpPr>
          <p:cNvPr id="13" name="文本框 12"/>
          <p:cNvSpPr txBox="1"/>
          <p:nvPr/>
        </p:nvSpPr>
        <p:spPr>
          <a:xfrm>
            <a:off x="3063107" y="4000501"/>
            <a:ext cx="377539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pc="600" dirty="0">
                <a:solidFill>
                  <a:schemeClr val="accent3">
                    <a:lumMod val="20000"/>
                    <a:lumOff val="80000"/>
                  </a:schemeClr>
                </a:solidFill>
              </a:rPr>
              <a:t>喜</a:t>
            </a:r>
            <a:r>
              <a:rPr lang="en-US" altLang="zh-CN" spc="600" dirty="0">
                <a:solidFill>
                  <a:schemeClr val="accent3">
                    <a:lumMod val="20000"/>
                    <a:lumOff val="80000"/>
                  </a:schemeClr>
                </a:solidFill>
              </a:rPr>
              <a:t>/</a:t>
            </a:r>
            <a:r>
              <a:rPr lang="zh-CN" altLang="en-US" spc="600" dirty="0">
                <a:solidFill>
                  <a:schemeClr val="accent3">
                    <a:lumMod val="20000"/>
                    <a:lumOff val="80000"/>
                  </a:schemeClr>
                </a:solidFill>
              </a:rPr>
              <a:t>迎</a:t>
            </a:r>
            <a:r>
              <a:rPr lang="en-US" altLang="zh-CN" spc="600" dirty="0">
                <a:solidFill>
                  <a:schemeClr val="accent3">
                    <a:lumMod val="20000"/>
                    <a:lumOff val="80000"/>
                  </a:schemeClr>
                </a:solidFill>
              </a:rPr>
              <a:t>/</a:t>
            </a:r>
            <a:r>
              <a:rPr lang="zh-CN" altLang="en-US" spc="600" dirty="0">
                <a:solidFill>
                  <a:schemeClr val="accent3">
                    <a:lumMod val="20000"/>
                    <a:lumOff val="80000"/>
                  </a:schemeClr>
                </a:solidFill>
              </a:rPr>
              <a:t>国</a:t>
            </a:r>
            <a:r>
              <a:rPr lang="en-US" altLang="zh-CN" spc="600" dirty="0">
                <a:solidFill>
                  <a:schemeClr val="accent3">
                    <a:lumMod val="20000"/>
                    <a:lumOff val="80000"/>
                  </a:schemeClr>
                </a:solidFill>
              </a:rPr>
              <a:t>/</a:t>
            </a:r>
            <a:r>
              <a:rPr lang="zh-CN" altLang="en-US" spc="600" dirty="0">
                <a:solidFill>
                  <a:schemeClr val="accent3">
                    <a:lumMod val="20000"/>
                    <a:lumOff val="80000"/>
                  </a:schemeClr>
                </a:solidFill>
              </a:rPr>
              <a:t>庆</a:t>
            </a:r>
            <a:r>
              <a:rPr lang="en-US" altLang="zh-CN" spc="600" dirty="0">
                <a:solidFill>
                  <a:schemeClr val="accent3">
                    <a:lumMod val="20000"/>
                    <a:lumOff val="80000"/>
                  </a:schemeClr>
                </a:solidFill>
              </a:rPr>
              <a:t>.</a:t>
            </a:r>
            <a:r>
              <a:rPr lang="zh-CN" altLang="en-US" spc="600" dirty="0">
                <a:solidFill>
                  <a:schemeClr val="accent3">
                    <a:lumMod val="20000"/>
                    <a:lumOff val="80000"/>
                  </a:schemeClr>
                </a:solidFill>
              </a:rPr>
              <a:t> 爱</a:t>
            </a:r>
            <a:r>
              <a:rPr lang="en-US" altLang="zh-CN" spc="600" dirty="0">
                <a:solidFill>
                  <a:schemeClr val="accent3">
                    <a:lumMod val="20000"/>
                    <a:lumOff val="80000"/>
                  </a:schemeClr>
                </a:solidFill>
              </a:rPr>
              <a:t>/</a:t>
            </a:r>
            <a:r>
              <a:rPr lang="zh-CN" altLang="en-US" spc="600" dirty="0">
                <a:solidFill>
                  <a:schemeClr val="accent3">
                    <a:lumMod val="20000"/>
                    <a:lumOff val="80000"/>
                  </a:schemeClr>
                </a:solidFill>
              </a:rPr>
              <a:t>我</a:t>
            </a:r>
            <a:r>
              <a:rPr lang="en-US" altLang="zh-CN" spc="600" dirty="0">
                <a:solidFill>
                  <a:schemeClr val="accent3">
                    <a:lumMod val="20000"/>
                    <a:lumOff val="80000"/>
                  </a:schemeClr>
                </a:solidFill>
              </a:rPr>
              <a:t>/</a:t>
            </a:r>
            <a:r>
              <a:rPr lang="zh-CN" altLang="en-US" spc="600" dirty="0">
                <a:solidFill>
                  <a:schemeClr val="accent3">
                    <a:lumMod val="20000"/>
                    <a:lumOff val="80000"/>
                  </a:schemeClr>
                </a:solidFill>
              </a:rPr>
              <a:t>中</a:t>
            </a:r>
            <a:r>
              <a:rPr lang="en-US" altLang="zh-CN" spc="600" dirty="0">
                <a:solidFill>
                  <a:schemeClr val="accent3">
                    <a:lumMod val="20000"/>
                    <a:lumOff val="80000"/>
                  </a:schemeClr>
                </a:solidFill>
              </a:rPr>
              <a:t>/</a:t>
            </a:r>
            <a:r>
              <a:rPr lang="zh-CN" altLang="en-US" spc="600" dirty="0">
                <a:solidFill>
                  <a:schemeClr val="accent3">
                    <a:lumMod val="20000"/>
                    <a:lumOff val="80000"/>
                  </a:schemeClr>
                </a:solidFill>
              </a:rPr>
              <a:t>华</a:t>
            </a:r>
            <a:endParaRPr lang="zh-CN" altLang="en-US" spc="600" dirty="0">
              <a:solidFill>
                <a:schemeClr val="accent3">
                  <a:lumMod val="20000"/>
                  <a:lumOff val="80000"/>
                </a:schemeClr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>
          <a:xfrm>
            <a:off x="669925" y="3153229"/>
            <a:ext cx="5419185" cy="895350"/>
          </a:xfrm>
        </p:spPr>
        <p:txBody>
          <a:bodyPr/>
          <a:lstStyle/>
          <a:p>
            <a:r>
              <a:rPr lang="zh-CN" altLang="en-US" b="0" dirty="0"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+mn-lt"/>
                <a:ea typeface="+mn-ea"/>
                <a:sym typeface="+mn-lt"/>
              </a:rPr>
              <a:t>调度代码讲解</a:t>
            </a:r>
            <a:endParaRPr lang="zh-CN" altLang="en-US" b="0" dirty="0"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latin typeface="+mn-lt"/>
              <a:ea typeface="+mn-ea"/>
              <a:sym typeface="+mn-lt"/>
            </a:endParaRPr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>
          <a:xfrm>
            <a:off x="707871" y="4479109"/>
            <a:ext cx="5419185" cy="1015623"/>
          </a:xfrm>
        </p:spPr>
        <p:txBody>
          <a:bodyPr/>
          <a:lstStyle/>
          <a:p>
            <a:pPr lvl="0">
              <a:lnSpc>
                <a:spcPct val="100000"/>
              </a:lnSpc>
            </a:pPr>
            <a:r>
              <a:rPr lang="zh-CN" altLang="en-US" dirty="0"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长江、黄河在我心中重千金</a:t>
            </a:r>
            <a:endParaRPr lang="zh-CN" altLang="en-US" dirty="0"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sp>
        <p:nvSpPr>
          <p:cNvPr id="9" name="文本框 8"/>
          <p:cNvSpPr txBox="1"/>
          <p:nvPr/>
        </p:nvSpPr>
        <p:spPr>
          <a:xfrm>
            <a:off x="768064" y="1641929"/>
            <a:ext cx="1738201" cy="1511300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1"/>
                </a:solidFill>
                <a:latin typeface="Impact" panose="020B0806030902050204" pitchFamily="34" charset="0"/>
                <a:cs typeface="Arial" panose="020B0604020202090204" pitchFamily="34" charset="0"/>
              </a:rPr>
              <a:t>/04</a:t>
            </a:r>
            <a:endParaRPr lang="zh-CN" altLang="en-US" spc="100" dirty="0">
              <a:solidFill>
                <a:schemeClr val="accent1"/>
              </a:solidFill>
              <a:latin typeface="Impact" panose="020B0806030902050204" pitchFamily="34" charset="0"/>
              <a:cs typeface="Arial" panose="020B0604020202090204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调度代码讲解</a:t>
            </a:r>
            <a:endParaRPr lang="zh-CN" altLang="en-US"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 smtClean="0"/>
              <a:t>我爱祖国</a:t>
            </a:r>
            <a:endParaRPr lang="zh-CN" altLang="en-US" smtClean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sp>
        <p:nvSpPr>
          <p:cNvPr id="5" name="标题 1"/>
          <p:cNvSpPr>
            <a:spLocks noGrp="1"/>
          </p:cNvSpPr>
          <p:nvPr/>
        </p:nvSpPr>
        <p:spPr>
          <a:xfrm>
            <a:off x="670560" y="2564130"/>
            <a:ext cx="10850880" cy="2306955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91376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indent="-457200" algn="l">
              <a:buFont typeface="Wingdings" panose="05000000000000000000" charset="0"/>
              <a:buChar char=""/>
            </a:pPr>
            <a:r>
              <a:rPr lang="en-US" altLang="zh-CN" sz="1995"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jobs</a:t>
            </a:r>
            <a:r>
              <a:rPr lang="zh-CN" altLang="en-US" sz="1995"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下存放任务执行脚本</a:t>
            </a:r>
            <a:endParaRPr lang="zh-CN" altLang="en-US" sz="1995"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  <a:p>
            <a:pPr lvl="0" indent="-457200" algn="l">
              <a:buFont typeface="Wingdings" panose="05000000000000000000" charset="0"/>
              <a:buChar char=""/>
            </a:pPr>
            <a:endParaRPr lang="zh-CN" altLang="en-US" sz="1995"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  <a:p>
            <a:pPr lvl="0" indent="-457200" algn="l">
              <a:buFont typeface="Wingdings" panose="05000000000000000000" charset="0"/>
              <a:buChar char=""/>
            </a:pPr>
            <a:r>
              <a:rPr lang="en-US" altLang="zh-CN" sz="1995"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logs</a:t>
            </a:r>
            <a:r>
              <a:rPr lang="zh-CN" altLang="en-US" sz="1995"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下存放系统进程日志</a:t>
            </a:r>
            <a:endParaRPr lang="zh-CN" altLang="en-US" sz="1995"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  <a:p>
            <a:pPr lvl="0" indent="-457200" algn="l">
              <a:buFont typeface="Wingdings" panose="05000000000000000000" charset="0"/>
              <a:buChar char=""/>
            </a:pPr>
            <a:endParaRPr lang="zh-CN" altLang="en-US" sz="1995"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  <a:p>
            <a:pPr lvl="0" indent="-457200" algn="l">
              <a:buFont typeface="Wingdings" panose="05000000000000000000" charset="0"/>
              <a:buChar char=""/>
            </a:pPr>
            <a:r>
              <a:rPr lang="en-US" sz="1995"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/ucredit/data/scheduler </a:t>
            </a:r>
            <a:r>
              <a:rPr lang="zh-CN" altLang="en-US" sz="1995"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为调度系统脚本</a:t>
            </a:r>
            <a:endParaRPr lang="zh-CN" altLang="en-US" sz="1995"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  <a:p>
            <a:pPr lvl="0" indent="0" algn="l">
              <a:buFont typeface="Wingdings" panose="05000000000000000000" charset="0"/>
            </a:pPr>
            <a:endParaRPr lang="zh-CN" altLang="en-US" sz="1995"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  <a:p>
            <a:pPr lvl="0" indent="-457200" algn="l">
              <a:buFont typeface="Wingdings" panose="05000000000000000000" charset="0"/>
              <a:buChar char=""/>
            </a:pPr>
            <a:r>
              <a:rPr lang="zh-CN" altLang="en-US" sz="1995"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上代码</a:t>
            </a:r>
            <a:endParaRPr lang="zh-CN" altLang="en-US" sz="1995"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  <a:p>
            <a:pPr lvl="0" indent="0" algn="l">
              <a:buFont typeface="Wingdings" panose="05000000000000000000" charset="0"/>
            </a:pPr>
            <a:endParaRPr lang="zh-CN" altLang="en-US" sz="1995"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  <a:p>
            <a:pPr lvl="0" indent="-457200" algn="l">
              <a:buFont typeface="Wingdings" panose="05000000000000000000" charset="0"/>
              <a:buChar char=""/>
            </a:pPr>
            <a:endParaRPr lang="zh-CN" altLang="en-US" sz="1995"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  <a:p>
            <a:pPr lvl="0" indent="-457200" algn="l">
              <a:buFont typeface="Wingdings" panose="05000000000000000000" charset="0"/>
              <a:buChar char=""/>
            </a:pPr>
            <a:endParaRPr lang="zh-CN" altLang="en-US" sz="1995"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  <a:p>
            <a:pPr lvl="0" indent="-457200" algn="l">
              <a:buFont typeface="Wingdings" panose="05000000000000000000" charset="0"/>
              <a:buChar char=""/>
            </a:pPr>
            <a:endParaRPr lang="zh-CN" altLang="en-US" sz="1995"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6474460" y="50800"/>
            <a:ext cx="5041900" cy="685800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>
          <a:xfrm>
            <a:off x="669925" y="3153229"/>
            <a:ext cx="5419185" cy="895350"/>
          </a:xfrm>
        </p:spPr>
        <p:txBody>
          <a:bodyPr/>
          <a:lstStyle/>
          <a:p>
            <a:r>
              <a:rPr lang="zh-CN" altLang="en-US" b="0" dirty="0"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+mn-lt"/>
                <a:ea typeface="+mn-ea"/>
                <a:sym typeface="+mn-lt"/>
              </a:rPr>
              <a:t>调度系统优化方向</a:t>
            </a:r>
            <a:endParaRPr lang="zh-CN" altLang="en-US" b="0" dirty="0"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latin typeface="+mn-lt"/>
              <a:ea typeface="+mn-ea"/>
              <a:sym typeface="+mn-lt"/>
            </a:endParaRPr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>
          <a:xfrm>
            <a:off x="707871" y="4479109"/>
            <a:ext cx="5419185" cy="1015623"/>
          </a:xfrm>
        </p:spPr>
        <p:txBody>
          <a:bodyPr/>
          <a:lstStyle/>
          <a:p>
            <a:pPr lvl="0">
              <a:lnSpc>
                <a:spcPct val="100000"/>
              </a:lnSpc>
            </a:pPr>
            <a:r>
              <a:rPr lang="zh-CN" altLang="en-US" dirty="0"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无论何时何地，一颗中国心</a:t>
            </a:r>
            <a:endParaRPr lang="zh-CN" altLang="en-US" dirty="0"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sp>
        <p:nvSpPr>
          <p:cNvPr id="9" name="文本框 8"/>
          <p:cNvSpPr txBox="1"/>
          <p:nvPr/>
        </p:nvSpPr>
        <p:spPr>
          <a:xfrm>
            <a:off x="707739" y="1641929"/>
            <a:ext cx="1738201" cy="1511300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1"/>
                </a:solidFill>
                <a:latin typeface="Impact" panose="020B0806030902050204" pitchFamily="34" charset="0"/>
                <a:cs typeface="Arial" panose="020B0604020202090204" pitchFamily="34" charset="0"/>
              </a:rPr>
              <a:t>/05</a:t>
            </a:r>
            <a:endParaRPr lang="zh-CN" altLang="en-US" spc="100" dirty="0">
              <a:solidFill>
                <a:schemeClr val="accent1"/>
              </a:solidFill>
              <a:latin typeface="Impact" panose="020B0806030902050204" pitchFamily="34" charset="0"/>
              <a:cs typeface="Arial" panose="020B0604020202090204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调度系统优化方向</a:t>
            </a:r>
            <a:endParaRPr lang="zh-CN" altLang="en-US"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 smtClean="0"/>
              <a:t>我爱祖国</a:t>
            </a:r>
            <a:endParaRPr lang="zh-CN" altLang="en-US" smtClean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sp>
        <p:nvSpPr>
          <p:cNvPr id="5" name="标题 1"/>
          <p:cNvSpPr>
            <a:spLocks noGrp="1"/>
          </p:cNvSpPr>
          <p:nvPr/>
        </p:nvSpPr>
        <p:spPr>
          <a:xfrm>
            <a:off x="670560" y="2043430"/>
            <a:ext cx="10850880" cy="4035425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91376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indent="-457200" algn="l">
              <a:buFont typeface="Wingdings" panose="05000000000000000000" charset="0"/>
              <a:buChar char=""/>
            </a:pPr>
            <a:r>
              <a:rPr lang="zh-CN" altLang="en-US" sz="1995"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前后端分离，增强前端操作功能，</a:t>
            </a:r>
            <a:r>
              <a:rPr lang="zh-CN" altLang="en-US" sz="1995"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对业务开放</a:t>
            </a:r>
            <a:endParaRPr lang="zh-CN" altLang="en-US" sz="1995"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  <a:p>
            <a:pPr lvl="0" indent="-457200" algn="l">
              <a:buFont typeface="Wingdings" panose="05000000000000000000" charset="0"/>
              <a:buChar char=""/>
            </a:pPr>
            <a:endParaRPr lang="zh-CN" altLang="en-US" sz="1995"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  <a:p>
            <a:pPr lvl="0" indent="-457200" algn="l">
              <a:buFont typeface="Wingdings" panose="05000000000000000000" charset="0"/>
              <a:buChar char=""/>
            </a:pPr>
            <a:r>
              <a:rPr lang="zh-CN" altLang="en-US" sz="1995"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sym typeface="+mn-ea"/>
              </a:rPr>
              <a:t>支撑数仓工作流程，</a:t>
            </a:r>
            <a:r>
              <a:rPr lang="zh-CN" altLang="en-US" sz="1995"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完全系统操作，增加行为日志</a:t>
            </a:r>
            <a:endParaRPr lang="zh-CN" altLang="en-US" sz="1995"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  <a:p>
            <a:pPr lvl="0" indent="-457200" algn="l">
              <a:buFont typeface="Wingdings" panose="05000000000000000000" charset="0"/>
              <a:buChar char=""/>
            </a:pPr>
            <a:endParaRPr lang="zh-CN" altLang="en-US" sz="1995"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  <a:p>
            <a:pPr lvl="0" indent="-457200" algn="l">
              <a:buFont typeface="Wingdings" panose="05000000000000000000" charset="0"/>
              <a:buChar char=""/>
            </a:pPr>
            <a:r>
              <a:rPr lang="zh-CN" altLang="en-US" sz="1995"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增加系统间调用，与</a:t>
            </a:r>
            <a:r>
              <a:rPr lang="en-US" altLang="zh-CN" sz="1995"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Athena</a:t>
            </a:r>
            <a:r>
              <a:rPr lang="zh-CN" altLang="en-US" sz="1995"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结合</a:t>
            </a:r>
            <a:endParaRPr lang="zh-CN" altLang="en-US" sz="1995"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  <a:p>
            <a:pPr lvl="0" indent="-457200" algn="l">
              <a:buFont typeface="Wingdings" panose="05000000000000000000" charset="0"/>
              <a:buChar char=""/>
            </a:pPr>
            <a:endParaRPr lang="zh-CN" altLang="en-US" sz="1995"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  <a:p>
            <a:pPr lvl="0" indent="-457200" algn="l">
              <a:buFont typeface="Wingdings" panose="05000000000000000000" charset="0"/>
              <a:buChar char=""/>
            </a:pPr>
            <a:r>
              <a:rPr lang="zh-CN" altLang="en-US" sz="1995"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完善整合自定义功能脚本，补充调度平台功能</a:t>
            </a:r>
            <a:endParaRPr lang="zh-CN" altLang="en-US" sz="1995"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  <a:p>
            <a:pPr lvl="0" indent="-457200" algn="l">
              <a:buFont typeface="Wingdings" panose="05000000000000000000" charset="0"/>
              <a:buChar char=""/>
            </a:pPr>
            <a:endParaRPr lang="zh-CN" altLang="en-US" sz="1995"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  <a:p>
            <a:pPr lvl="0" indent="-457200" algn="l">
              <a:buFont typeface="Wingdings" panose="05000000000000000000" charset="0"/>
              <a:buChar char=""/>
            </a:pPr>
            <a:r>
              <a:rPr lang="en-US" altLang="zh-CN" sz="1995"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master</a:t>
            </a:r>
            <a:r>
              <a:rPr lang="zh-CN" altLang="en-US" sz="1995"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单点</a:t>
            </a:r>
            <a:endParaRPr lang="zh-CN" altLang="en-US" sz="1995"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  <a:p>
            <a:pPr lvl="0" indent="-457200" algn="l">
              <a:buFont typeface="Wingdings" panose="05000000000000000000" charset="0"/>
              <a:buChar char=""/>
            </a:pPr>
            <a:endParaRPr lang="zh-CN" altLang="en-US" sz="1995"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  <a:p>
            <a:pPr lvl="0" indent="-457200" algn="l">
              <a:buFont typeface="Wingdings" panose="05000000000000000000" charset="0"/>
              <a:buChar char=""/>
            </a:pPr>
            <a:r>
              <a:rPr lang="zh-CN" altLang="en-US" sz="1995"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多调度体系（目前两套调度</a:t>
            </a:r>
            <a:r>
              <a:rPr lang="zh-CN" altLang="en-US" sz="1995"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）</a:t>
            </a:r>
            <a:endParaRPr lang="zh-CN" altLang="en-US" sz="1995"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  <a:p>
            <a:pPr lvl="0" indent="0" algn="l">
              <a:buFont typeface="Wingdings" panose="05000000000000000000" charset="0"/>
            </a:pPr>
            <a:endParaRPr lang="zh-CN" altLang="en-US" sz="1995"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  <a:p>
            <a:pPr lvl="0" indent="-457200" algn="l">
              <a:buFont typeface="Wingdings" panose="05000000000000000000" charset="0"/>
              <a:buChar char=""/>
            </a:pPr>
            <a:r>
              <a:rPr lang="zh-CN" altLang="en-US" sz="1995"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。。补充</a:t>
            </a:r>
            <a:endParaRPr lang="zh-CN" altLang="en-US" sz="1995"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  <a:p>
            <a:pPr lvl="0" indent="0" algn="l">
              <a:buFont typeface="Wingdings" panose="05000000000000000000" charset="0"/>
            </a:pPr>
            <a:endParaRPr lang="zh-CN" altLang="en-US" sz="1995"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  <a:p>
            <a:pPr lvl="0" indent="-457200" algn="l">
              <a:buFont typeface="Wingdings" panose="05000000000000000000" charset="0"/>
              <a:buChar char=""/>
            </a:pPr>
            <a:endParaRPr lang="zh-CN" altLang="en-US" sz="1995"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  <a:p>
            <a:pPr lvl="0" indent="-457200" algn="l">
              <a:buFont typeface="Wingdings" panose="05000000000000000000" charset="0"/>
              <a:buChar char=""/>
            </a:pPr>
            <a:endParaRPr lang="zh-CN" altLang="en-US" sz="1995"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  <a:p>
            <a:pPr lvl="0" indent="-457200" algn="l">
              <a:buFont typeface="Wingdings" panose="05000000000000000000" charset="0"/>
              <a:buChar char=""/>
            </a:pPr>
            <a:endParaRPr lang="zh-CN" altLang="en-US" sz="1995"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7" name="think-cell Slide" r:id="rId2" imgW="0" imgH="0" progId="TCLayout.ActiveDocument.1">
                  <p:embed/>
                </p:oleObj>
              </mc:Choice>
              <mc:Fallback>
                <p:oleObj name="think-cell Slide" r:id="rId2" imgW="0" imgH="0" progId="TCLayout.ActiveDocument.1">
                  <p:embed/>
                  <p:pic>
                    <p:nvPicPr>
                      <p:cNvPr id="0" name="对象 2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 dirty="0">
              <a:latin typeface="Arial" panose="020B0604020202090204" pitchFamily="34" charset="0"/>
              <a:ea typeface="微软雅黑" panose="020B0503020204020204" pitchFamily="34" charset="-122"/>
              <a:cs typeface="+mj-cs"/>
              <a:sym typeface="Arial" panose="020B0604020202090204" pitchFamily="34" charset="0"/>
            </a:endParaRPr>
          </a:p>
        </p:txBody>
      </p:sp>
      <p:sp>
        <p:nvSpPr>
          <p:cNvPr id="5" name="标题 4"/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en-US" altLang="zh-CN" sz="6600" dirty="0">
                <a:solidFill>
                  <a:schemeClr val="bg1"/>
                </a:solidFill>
              </a:rPr>
              <a:t>Thanks</a:t>
            </a:r>
            <a:br>
              <a:rPr lang="en-US" altLang="zh-CN" sz="6600" dirty="0">
                <a:solidFill>
                  <a:schemeClr val="bg1"/>
                </a:solidFill>
              </a:rPr>
            </a:br>
            <a:r>
              <a:rPr lang="zh-CN" altLang="en-US" sz="6600" dirty="0">
                <a:solidFill>
                  <a:schemeClr val="bg1"/>
                </a:solidFill>
              </a:rPr>
              <a:t>爱你</a:t>
            </a:r>
            <a:r>
              <a:rPr lang="zh-CN" altLang="en-US" sz="6600" dirty="0">
                <a:solidFill>
                  <a:schemeClr val="bg1"/>
                </a:solidFill>
              </a:rPr>
              <a:t>，祖国</a:t>
            </a:r>
            <a:endParaRPr lang="zh-CN" altLang="en-US" sz="6600" dirty="0">
              <a:solidFill>
                <a:schemeClr val="bg1"/>
              </a:solidFill>
            </a:endParaRPr>
          </a:p>
        </p:txBody>
      </p:sp>
      <p:sp>
        <p:nvSpPr>
          <p:cNvPr id="7" name="文本占位符 6"/>
          <p:cNvSpPr>
            <a:spLocks noGrp="1"/>
          </p:cNvSpPr>
          <p:nvPr>
            <p:ph type="body" sz="quarter" idx="18"/>
          </p:nvPr>
        </p:nvSpPr>
        <p:spPr/>
        <p:txBody>
          <a:bodyPr>
            <a:normAutofit fontScale="90000" lnSpcReduction="20000"/>
          </a:bodyPr>
          <a:lstStyle/>
          <a:p>
            <a:r>
              <a:rPr dirty="0">
                <a:solidFill>
                  <a:schemeClr val="bg1"/>
                </a:solidFill>
              </a:rPr>
              <a:t>数据组</a:t>
            </a:r>
            <a:endParaRPr dirty="0">
              <a:solidFill>
                <a:schemeClr val="bg1"/>
              </a:solidFill>
            </a:endParaRPr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zh-CN" altLang="en-US" dirty="0">
                <a:solidFill>
                  <a:schemeClr val="bg1"/>
                </a:solidFill>
              </a:rPr>
              <a:t>李新光</a:t>
            </a:r>
            <a:endParaRPr lang="zh-CN" altLang="en-US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组合 1"/>
          <p:cNvGrpSpPr/>
          <p:nvPr/>
        </p:nvGrpSpPr>
        <p:grpSpPr>
          <a:xfrm>
            <a:off x="757282" y="1243608"/>
            <a:ext cx="10763205" cy="4083608"/>
            <a:chOff x="757282" y="1700808"/>
            <a:chExt cx="10763205" cy="4083608"/>
          </a:xfrm>
        </p:grpSpPr>
        <p:grpSp>
          <p:nvGrpSpPr>
            <p:cNvPr id="6" name="2b751056-6b97-492c-b763-340acee7e99d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  <p:cNvGrpSpPr>
              <a:grpSpLocks noChangeAspect="1"/>
            </p:cNvGrpSpPr>
            <p:nvPr>
              <p:custDataLst>
                <p:tags r:id="rId1"/>
              </p:custDataLst>
            </p:nvPr>
          </p:nvGrpSpPr>
          <p:grpSpPr>
            <a:xfrm>
              <a:off x="757282" y="1700808"/>
              <a:ext cx="10763205" cy="4083608"/>
              <a:chOff x="1175743" y="1700808"/>
              <a:chExt cx="10344744" cy="4083608"/>
            </a:xfrm>
          </p:grpSpPr>
          <p:sp>
            <p:nvSpPr>
              <p:cNvPr id="7" name="iṡľïḑè"/>
              <p:cNvSpPr txBox="1"/>
              <p:nvPr/>
            </p:nvSpPr>
            <p:spPr bwMode="auto">
              <a:xfrm>
                <a:off x="3822192" y="1780800"/>
                <a:ext cx="7698295" cy="4003616"/>
              </a:xfrm>
              <a:prstGeom prst="rect">
                <a:avLst/>
              </a:prstGeom>
              <a:noFill/>
            </p:spPr>
            <p:txBody>
              <a:bodyPr wrap="square" tIns="0" anchor="t">
                <a:noAutofit/>
              </a:bodyPr>
              <a:lstStyle>
                <a:defPPr>
                  <a:defRPr lang="zh-CN"/>
                </a:defPPr>
                <a:lvl1pPr>
                  <a:defRPr sz="1600" b="1">
                    <a:latin typeface="Arial" panose="020B0604020202090204" pitchFamily="34" charset="0"/>
                    <a:ea typeface="微软雅黑" panose="020B0503020204020204" pitchFamily="34" charset="-122"/>
                    <a:cs typeface="+mn-ea"/>
                  </a:defRPr>
                </a:lvl1pPr>
                <a:lvl2pPr marL="742950" indent="-285750">
                  <a:defRPr sz="3200" b="1">
                    <a:solidFill>
                      <a:srgbClr val="4D4D4D"/>
                    </a:solidFill>
                    <a:latin typeface="Arial" panose="020B0604020202090204" pitchFamily="34" charset="0"/>
                    <a:ea typeface="黑体" panose="02010609060101010101" pitchFamily="49" charset="-122"/>
                  </a:defRPr>
                </a:lvl2pPr>
                <a:lvl3pPr marL="1143000" indent="-228600">
                  <a:defRPr sz="3200" b="1">
                    <a:solidFill>
                      <a:srgbClr val="4D4D4D"/>
                    </a:solidFill>
                    <a:latin typeface="Arial" panose="020B0604020202090204" pitchFamily="34" charset="0"/>
                    <a:ea typeface="黑体" panose="02010609060101010101" pitchFamily="49" charset="-122"/>
                  </a:defRPr>
                </a:lvl3pPr>
                <a:lvl4pPr marL="1600200" indent="-228600">
                  <a:defRPr sz="3200" b="1">
                    <a:solidFill>
                      <a:srgbClr val="4D4D4D"/>
                    </a:solidFill>
                    <a:latin typeface="Arial" panose="020B0604020202090204" pitchFamily="34" charset="0"/>
                    <a:ea typeface="黑体" panose="02010609060101010101" pitchFamily="49" charset="-122"/>
                  </a:defRPr>
                </a:lvl4pPr>
                <a:lvl5pPr marL="2057400" indent="-228600">
                  <a:defRPr sz="3200" b="1">
                    <a:solidFill>
                      <a:srgbClr val="4D4D4D"/>
                    </a:solidFill>
                    <a:latin typeface="Arial" panose="020B0604020202090204" pitchFamily="34" charset="0"/>
                    <a:ea typeface="黑体" panose="02010609060101010101" pitchFamily="49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90204" pitchFamily="34" charset="0"/>
                    <a:ea typeface="黑体" panose="02010609060101010101" pitchFamily="49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90204" pitchFamily="34" charset="0"/>
                    <a:ea typeface="黑体" panose="02010609060101010101" pitchFamily="49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90204" pitchFamily="34" charset="0"/>
                    <a:ea typeface="黑体" panose="02010609060101010101" pitchFamily="49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90204" pitchFamily="34" charset="0"/>
                    <a:ea typeface="黑体" panose="02010609060101010101" pitchFamily="49" charset="-122"/>
                  </a:defRPr>
                </a:lvl9pPr>
              </a:lstStyle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zh-CN" altLang="en-US" b="0" dirty="0">
                    <a:ln/>
                    <a:solidFill>
                      <a:schemeClr val="accent1"/>
                    </a:solidFill>
                    <a:effectLst>
                      <a:outerShdw blurRad="38100" dist="25400" dir="5400000" algn="ctr" rotWithShape="0">
                        <a:srgbClr val="6E747A">
                          <a:alpha val="43000"/>
                        </a:srgbClr>
                      </a:outerShdw>
                    </a:effectLst>
                    <a:latin typeface="+mn-lt"/>
                    <a:ea typeface="+mn-ea"/>
                    <a:sym typeface="+mn-lt"/>
                  </a:rPr>
                  <a:t>数仓的任务运行模式</a:t>
                </a:r>
                <a:endParaRPr lang="zh-CN" altLang="en-US" b="0" dirty="0">
                  <a:ln/>
                  <a:solidFill>
                    <a:schemeClr val="accent1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  <a:latin typeface="+mn-lt"/>
                  <a:ea typeface="+mn-ea"/>
                  <a:sym typeface="+mn-lt"/>
                </a:endParaRP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zh-CN" altLang="en-US" b="0" dirty="0">
                    <a:ln/>
                    <a:solidFill>
                      <a:schemeClr val="accent1"/>
                    </a:solidFill>
                    <a:effectLst>
                      <a:outerShdw blurRad="38100" dist="25400" dir="5400000" algn="ctr" rotWithShape="0">
                        <a:srgbClr val="6E747A">
                          <a:alpha val="43000"/>
                        </a:srgbClr>
                      </a:outerShdw>
                    </a:effectLst>
                    <a:latin typeface="+mn-lt"/>
                    <a:ea typeface="+mn-ea"/>
                    <a:sym typeface="+mn-lt"/>
                  </a:rPr>
                  <a:t>调度功能说明</a:t>
                </a:r>
                <a:endParaRPr lang="en-US" altLang="zh-CN" b="0" dirty="0">
                  <a:ln/>
                  <a:solidFill>
                    <a:schemeClr val="accent1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  <a:latin typeface="+mn-lt"/>
                  <a:ea typeface="+mn-ea"/>
                  <a:sym typeface="+mn-lt"/>
                </a:endParaRP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zh-CN" altLang="en-US" b="0" dirty="0">
                    <a:ln/>
                    <a:solidFill>
                      <a:schemeClr val="accent1"/>
                    </a:solidFill>
                    <a:effectLst>
                      <a:outerShdw blurRad="38100" dist="25400" dir="5400000" algn="ctr" rotWithShape="0">
                        <a:srgbClr val="6E747A">
                          <a:alpha val="43000"/>
                        </a:srgbClr>
                      </a:outerShdw>
                    </a:effectLst>
                    <a:latin typeface="+mn-lt"/>
                    <a:ea typeface="+mn-ea"/>
                    <a:sym typeface="+mn-lt"/>
                  </a:rPr>
                  <a:t>调度系统设计</a:t>
                </a:r>
                <a:endParaRPr lang="en-US" altLang="zh-CN" b="0" dirty="0">
                  <a:ln/>
                  <a:solidFill>
                    <a:schemeClr val="accent1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  <a:latin typeface="+mn-lt"/>
                  <a:ea typeface="+mn-ea"/>
                  <a:sym typeface="+mn-lt"/>
                </a:endParaRP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zh-CN" altLang="en-US" b="0" dirty="0">
                    <a:ln/>
                    <a:solidFill>
                      <a:schemeClr val="accent1"/>
                    </a:solidFill>
                    <a:effectLst>
                      <a:outerShdw blurRad="38100" dist="25400" dir="5400000" algn="ctr" rotWithShape="0">
                        <a:srgbClr val="6E747A">
                          <a:alpha val="43000"/>
                        </a:srgbClr>
                      </a:outerShdw>
                    </a:effectLst>
                    <a:latin typeface="+mn-lt"/>
                    <a:ea typeface="+mn-ea"/>
                    <a:sym typeface="+mn-lt"/>
                  </a:rPr>
                  <a:t>调度代码讲解</a:t>
                </a:r>
                <a:endParaRPr lang="en-US" altLang="zh-CN" b="0" dirty="0">
                  <a:ln/>
                  <a:solidFill>
                    <a:schemeClr val="accent1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  <a:latin typeface="+mn-lt"/>
                  <a:ea typeface="+mn-ea"/>
                  <a:sym typeface="+mn-lt"/>
                </a:endParaRP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zh-CN" altLang="en-US" b="0" dirty="0">
                    <a:ln/>
                    <a:solidFill>
                      <a:schemeClr val="accent1"/>
                    </a:solidFill>
                    <a:effectLst>
                      <a:outerShdw blurRad="38100" dist="25400" dir="5400000" algn="ctr" rotWithShape="0">
                        <a:srgbClr val="6E747A">
                          <a:alpha val="43000"/>
                        </a:srgbClr>
                      </a:outerShdw>
                    </a:effectLst>
                    <a:latin typeface="+mn-lt"/>
                    <a:ea typeface="+mn-ea"/>
                    <a:sym typeface="+mn-lt"/>
                  </a:rPr>
                  <a:t>调度系统优化方向</a:t>
                </a:r>
                <a:endParaRPr lang="zh-CN" altLang="en-US" b="0" dirty="0">
                  <a:ln/>
                  <a:solidFill>
                    <a:schemeClr val="accent1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  <a:latin typeface="+mn-lt"/>
                  <a:ea typeface="+mn-ea"/>
                  <a:sym typeface="+mn-lt"/>
                </a:endParaRPr>
              </a:p>
            </p:txBody>
          </p:sp>
          <p:cxnSp>
            <p:nvCxnSpPr>
              <p:cNvPr id="8" name="直接连接符 7"/>
              <p:cNvCxnSpPr/>
              <p:nvPr/>
            </p:nvCxnSpPr>
            <p:spPr>
              <a:xfrm>
                <a:off x="3696888" y="1780800"/>
                <a:ext cx="0" cy="4003616"/>
              </a:xfrm>
              <a:prstGeom prst="line">
                <a:avLst/>
              </a:prstGeom>
              <a:solidFill>
                <a:srgbClr val="FFCC00"/>
              </a:solidFill>
              <a:ln w="3175" cap="flat" cmpd="sng" algn="ctr">
                <a:solidFill>
                  <a:schemeClr val="bg1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sp>
            <p:nvSpPr>
              <p:cNvPr id="9" name="išľïḋé"/>
              <p:cNvSpPr txBox="1"/>
              <p:nvPr/>
            </p:nvSpPr>
            <p:spPr>
              <a:xfrm>
                <a:off x="1175743" y="1700808"/>
                <a:ext cx="2521108" cy="521970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zh-CN" altLang="tr-TR" sz="2800" b="1" dirty="0">
                    <a:solidFill>
                      <a:schemeClr val="accent1"/>
                    </a:solidFill>
                    <a:cs typeface="+mn-ea"/>
                    <a:sym typeface="+mn-lt"/>
                  </a:rPr>
                  <a:t>目录</a:t>
                </a:r>
                <a:endParaRPr lang="zh-CN" altLang="tr-TR" sz="2800" b="1" dirty="0">
                  <a:solidFill>
                    <a:schemeClr val="accent1"/>
                  </a:solidFill>
                  <a:cs typeface="+mn-ea"/>
                  <a:sym typeface="+mn-lt"/>
                </a:endParaRPr>
              </a:p>
            </p:txBody>
          </p:sp>
        </p:grpSp>
        <p:sp>
          <p:nvSpPr>
            <p:cNvPr id="10" name="poetry_91022"/>
            <p:cNvSpPr>
              <a:spLocks noChangeAspect="1"/>
            </p:cNvSpPr>
            <p:nvPr/>
          </p:nvSpPr>
          <p:spPr bwMode="auto">
            <a:xfrm>
              <a:off x="2379533" y="4867348"/>
              <a:ext cx="870506" cy="915667"/>
            </a:xfrm>
            <a:custGeom>
              <a:avLst/>
              <a:gdLst>
                <a:gd name="T0" fmla="*/ 3353 w 5127"/>
                <a:gd name="T1" fmla="*/ 1728 h 5401"/>
                <a:gd name="T2" fmla="*/ 2183 w 5127"/>
                <a:gd name="T3" fmla="*/ 1608 h 5401"/>
                <a:gd name="T4" fmla="*/ 3353 w 5127"/>
                <a:gd name="T5" fmla="*/ 1488 h 5401"/>
                <a:gd name="T6" fmla="*/ 3103 w 5127"/>
                <a:gd name="T7" fmla="*/ 2231 h 5401"/>
                <a:gd name="T8" fmla="*/ 3103 w 5127"/>
                <a:gd name="T9" fmla="*/ 1991 h 5401"/>
                <a:gd name="T10" fmla="*/ 2432 w 5127"/>
                <a:gd name="T11" fmla="*/ 2111 h 5401"/>
                <a:gd name="T12" fmla="*/ 3103 w 5127"/>
                <a:gd name="T13" fmla="*/ 2231 h 5401"/>
                <a:gd name="T14" fmla="*/ 3353 w 5127"/>
                <a:gd name="T15" fmla="*/ 2648 h 5401"/>
                <a:gd name="T16" fmla="*/ 2183 w 5127"/>
                <a:gd name="T17" fmla="*/ 2768 h 5401"/>
                <a:gd name="T18" fmla="*/ 3353 w 5127"/>
                <a:gd name="T19" fmla="*/ 2888 h 5401"/>
                <a:gd name="T20" fmla="*/ 2552 w 5127"/>
                <a:gd name="T21" fmla="*/ 3151 h 5401"/>
                <a:gd name="T22" fmla="*/ 2552 w 5127"/>
                <a:gd name="T23" fmla="*/ 3391 h 5401"/>
                <a:gd name="T24" fmla="*/ 3223 w 5127"/>
                <a:gd name="T25" fmla="*/ 3271 h 5401"/>
                <a:gd name="T26" fmla="*/ 2552 w 5127"/>
                <a:gd name="T27" fmla="*/ 3151 h 5401"/>
                <a:gd name="T28" fmla="*/ 4448 w 5127"/>
                <a:gd name="T29" fmla="*/ 1442 h 5401"/>
                <a:gd name="T30" fmla="*/ 4688 w 5127"/>
                <a:gd name="T31" fmla="*/ 1442 h 5401"/>
                <a:gd name="T32" fmla="*/ 3988 w 5127"/>
                <a:gd name="T33" fmla="*/ 0 h 5401"/>
                <a:gd name="T34" fmla="*/ 0 w 5127"/>
                <a:gd name="T35" fmla="*/ 604 h 5401"/>
                <a:gd name="T36" fmla="*/ 120 w 5127"/>
                <a:gd name="T37" fmla="*/ 1792 h 5401"/>
                <a:gd name="T38" fmla="*/ 686 w 5127"/>
                <a:gd name="T39" fmla="*/ 1672 h 5401"/>
                <a:gd name="T40" fmla="*/ 240 w 5127"/>
                <a:gd name="T41" fmla="*/ 1552 h 5401"/>
                <a:gd name="T42" fmla="*/ 604 w 5127"/>
                <a:gd name="T43" fmla="*/ 240 h 5401"/>
                <a:gd name="T44" fmla="*/ 968 w 5127"/>
                <a:gd name="T45" fmla="*/ 4179 h 5401"/>
                <a:gd name="T46" fmla="*/ 3904 w 5127"/>
                <a:gd name="T47" fmla="*/ 4879 h 5401"/>
                <a:gd name="T48" fmla="*/ 3904 w 5127"/>
                <a:gd name="T49" fmla="*/ 4639 h 5401"/>
                <a:gd name="T50" fmla="*/ 1208 w 5127"/>
                <a:gd name="T51" fmla="*/ 4179 h 5401"/>
                <a:gd name="T52" fmla="*/ 1086 w 5127"/>
                <a:gd name="T53" fmla="*/ 240 h 5401"/>
                <a:gd name="T54" fmla="*/ 4448 w 5127"/>
                <a:gd name="T55" fmla="*/ 700 h 5401"/>
                <a:gd name="T56" fmla="*/ 4568 w 5127"/>
                <a:gd name="T57" fmla="*/ 2000 h 5401"/>
                <a:gd name="T58" fmla="*/ 4568 w 5127"/>
                <a:gd name="T59" fmla="*/ 2240 h 5401"/>
                <a:gd name="T60" fmla="*/ 4887 w 5127"/>
                <a:gd name="T61" fmla="*/ 2340 h 5401"/>
                <a:gd name="T62" fmla="*/ 5007 w 5127"/>
                <a:gd name="T63" fmla="*/ 3838 h 5401"/>
                <a:gd name="T64" fmla="*/ 5127 w 5127"/>
                <a:gd name="T65" fmla="*/ 2340 h 5401"/>
                <a:gd name="T66" fmla="*/ 4568 w 5127"/>
                <a:gd name="T67" fmla="*/ 5139 h 5401"/>
                <a:gd name="T68" fmla="*/ 4448 w 5127"/>
                <a:gd name="T69" fmla="*/ 5281 h 5401"/>
                <a:gd name="T70" fmla="*/ 4688 w 5127"/>
                <a:gd name="T71" fmla="*/ 5281 h 5401"/>
                <a:gd name="T72" fmla="*/ 4568 w 5127"/>
                <a:gd name="T73" fmla="*/ 5139 h 5401"/>
                <a:gd name="T74" fmla="*/ 4448 w 5127"/>
                <a:gd name="T75" fmla="*/ 2559 h 5401"/>
                <a:gd name="T76" fmla="*/ 4568 w 5127"/>
                <a:gd name="T77" fmla="*/ 4974 h 5401"/>
                <a:gd name="T78" fmla="*/ 4688 w 5127"/>
                <a:gd name="T79" fmla="*/ 2559 h 54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5127" h="5401">
                  <a:moveTo>
                    <a:pt x="3473" y="1608"/>
                  </a:moveTo>
                  <a:cubicBezTo>
                    <a:pt x="3473" y="1674"/>
                    <a:pt x="3419" y="1728"/>
                    <a:pt x="3353" y="1728"/>
                  </a:cubicBezTo>
                  <a:lnTo>
                    <a:pt x="2303" y="1728"/>
                  </a:lnTo>
                  <a:cubicBezTo>
                    <a:pt x="2236" y="1728"/>
                    <a:pt x="2183" y="1674"/>
                    <a:pt x="2183" y="1608"/>
                  </a:cubicBezTo>
                  <a:cubicBezTo>
                    <a:pt x="2183" y="1542"/>
                    <a:pt x="2236" y="1488"/>
                    <a:pt x="2303" y="1488"/>
                  </a:cubicBezTo>
                  <a:lnTo>
                    <a:pt x="3353" y="1488"/>
                  </a:lnTo>
                  <a:cubicBezTo>
                    <a:pt x="3419" y="1488"/>
                    <a:pt x="3473" y="1542"/>
                    <a:pt x="3473" y="1608"/>
                  </a:cubicBezTo>
                  <a:close/>
                  <a:moveTo>
                    <a:pt x="3103" y="2231"/>
                  </a:moveTo>
                  <a:cubicBezTo>
                    <a:pt x="3170" y="2231"/>
                    <a:pt x="3223" y="2178"/>
                    <a:pt x="3223" y="2111"/>
                  </a:cubicBezTo>
                  <a:cubicBezTo>
                    <a:pt x="3223" y="2045"/>
                    <a:pt x="3170" y="1991"/>
                    <a:pt x="3103" y="1991"/>
                  </a:cubicBezTo>
                  <a:lnTo>
                    <a:pt x="2552" y="1991"/>
                  </a:lnTo>
                  <a:cubicBezTo>
                    <a:pt x="2486" y="1991"/>
                    <a:pt x="2432" y="2045"/>
                    <a:pt x="2432" y="2111"/>
                  </a:cubicBezTo>
                  <a:cubicBezTo>
                    <a:pt x="2432" y="2178"/>
                    <a:pt x="2486" y="2231"/>
                    <a:pt x="2552" y="2231"/>
                  </a:cubicBezTo>
                  <a:lnTo>
                    <a:pt x="3103" y="2231"/>
                  </a:lnTo>
                  <a:close/>
                  <a:moveTo>
                    <a:pt x="3473" y="2768"/>
                  </a:moveTo>
                  <a:cubicBezTo>
                    <a:pt x="3473" y="2701"/>
                    <a:pt x="3419" y="2648"/>
                    <a:pt x="3353" y="2648"/>
                  </a:cubicBezTo>
                  <a:lnTo>
                    <a:pt x="2303" y="2648"/>
                  </a:lnTo>
                  <a:cubicBezTo>
                    <a:pt x="2236" y="2648"/>
                    <a:pt x="2183" y="2701"/>
                    <a:pt x="2183" y="2768"/>
                  </a:cubicBezTo>
                  <a:cubicBezTo>
                    <a:pt x="2183" y="2834"/>
                    <a:pt x="2236" y="2888"/>
                    <a:pt x="2303" y="2888"/>
                  </a:cubicBezTo>
                  <a:lnTo>
                    <a:pt x="3353" y="2888"/>
                  </a:lnTo>
                  <a:cubicBezTo>
                    <a:pt x="3419" y="2888"/>
                    <a:pt x="3473" y="2834"/>
                    <a:pt x="3473" y="2768"/>
                  </a:cubicBezTo>
                  <a:close/>
                  <a:moveTo>
                    <a:pt x="2552" y="3151"/>
                  </a:moveTo>
                  <a:cubicBezTo>
                    <a:pt x="2486" y="3151"/>
                    <a:pt x="2432" y="3205"/>
                    <a:pt x="2432" y="3271"/>
                  </a:cubicBezTo>
                  <a:cubicBezTo>
                    <a:pt x="2432" y="3338"/>
                    <a:pt x="2486" y="3391"/>
                    <a:pt x="2552" y="3391"/>
                  </a:cubicBezTo>
                  <a:lnTo>
                    <a:pt x="3103" y="3391"/>
                  </a:lnTo>
                  <a:cubicBezTo>
                    <a:pt x="3170" y="3391"/>
                    <a:pt x="3223" y="3338"/>
                    <a:pt x="3223" y="3271"/>
                  </a:cubicBezTo>
                  <a:cubicBezTo>
                    <a:pt x="3223" y="3205"/>
                    <a:pt x="3170" y="3151"/>
                    <a:pt x="3103" y="3151"/>
                  </a:cubicBezTo>
                  <a:lnTo>
                    <a:pt x="2552" y="3151"/>
                  </a:lnTo>
                  <a:close/>
                  <a:moveTo>
                    <a:pt x="4448" y="700"/>
                  </a:moveTo>
                  <a:lnTo>
                    <a:pt x="4448" y="1442"/>
                  </a:lnTo>
                  <a:cubicBezTo>
                    <a:pt x="4448" y="1509"/>
                    <a:pt x="4501" y="1562"/>
                    <a:pt x="4568" y="1562"/>
                  </a:cubicBezTo>
                  <a:cubicBezTo>
                    <a:pt x="4634" y="1562"/>
                    <a:pt x="4688" y="1509"/>
                    <a:pt x="4688" y="1442"/>
                  </a:cubicBezTo>
                  <a:lnTo>
                    <a:pt x="4688" y="700"/>
                  </a:lnTo>
                  <a:cubicBezTo>
                    <a:pt x="4688" y="314"/>
                    <a:pt x="4374" y="0"/>
                    <a:pt x="3988" y="0"/>
                  </a:cubicBezTo>
                  <a:lnTo>
                    <a:pt x="604" y="0"/>
                  </a:lnTo>
                  <a:cubicBezTo>
                    <a:pt x="271" y="0"/>
                    <a:pt x="0" y="271"/>
                    <a:pt x="0" y="604"/>
                  </a:cubicBezTo>
                  <a:lnTo>
                    <a:pt x="0" y="1672"/>
                  </a:lnTo>
                  <a:cubicBezTo>
                    <a:pt x="0" y="1738"/>
                    <a:pt x="53" y="1792"/>
                    <a:pt x="120" y="1792"/>
                  </a:cubicBezTo>
                  <a:lnTo>
                    <a:pt x="566" y="1792"/>
                  </a:lnTo>
                  <a:cubicBezTo>
                    <a:pt x="632" y="1792"/>
                    <a:pt x="686" y="1738"/>
                    <a:pt x="686" y="1672"/>
                  </a:cubicBezTo>
                  <a:cubicBezTo>
                    <a:pt x="686" y="1606"/>
                    <a:pt x="632" y="1552"/>
                    <a:pt x="566" y="1552"/>
                  </a:cubicBezTo>
                  <a:lnTo>
                    <a:pt x="240" y="1552"/>
                  </a:lnTo>
                  <a:lnTo>
                    <a:pt x="240" y="604"/>
                  </a:lnTo>
                  <a:cubicBezTo>
                    <a:pt x="240" y="403"/>
                    <a:pt x="403" y="240"/>
                    <a:pt x="604" y="240"/>
                  </a:cubicBezTo>
                  <a:cubicBezTo>
                    <a:pt x="805" y="240"/>
                    <a:pt x="968" y="403"/>
                    <a:pt x="968" y="604"/>
                  </a:cubicBezTo>
                  <a:lnTo>
                    <a:pt x="968" y="4179"/>
                  </a:lnTo>
                  <a:cubicBezTo>
                    <a:pt x="968" y="4565"/>
                    <a:pt x="1282" y="4879"/>
                    <a:pt x="1668" y="4879"/>
                  </a:cubicBezTo>
                  <a:lnTo>
                    <a:pt x="3904" y="4879"/>
                  </a:lnTo>
                  <a:cubicBezTo>
                    <a:pt x="3970" y="4879"/>
                    <a:pt x="4024" y="4825"/>
                    <a:pt x="4024" y="4759"/>
                  </a:cubicBezTo>
                  <a:cubicBezTo>
                    <a:pt x="4024" y="4693"/>
                    <a:pt x="3970" y="4639"/>
                    <a:pt x="3904" y="4639"/>
                  </a:cubicBezTo>
                  <a:lnTo>
                    <a:pt x="1668" y="4639"/>
                  </a:lnTo>
                  <a:cubicBezTo>
                    <a:pt x="1415" y="4639"/>
                    <a:pt x="1208" y="4433"/>
                    <a:pt x="1208" y="4179"/>
                  </a:cubicBezTo>
                  <a:lnTo>
                    <a:pt x="1208" y="604"/>
                  </a:lnTo>
                  <a:cubicBezTo>
                    <a:pt x="1208" y="468"/>
                    <a:pt x="1163" y="341"/>
                    <a:pt x="1086" y="240"/>
                  </a:cubicBezTo>
                  <a:lnTo>
                    <a:pt x="3988" y="240"/>
                  </a:lnTo>
                  <a:cubicBezTo>
                    <a:pt x="4241" y="240"/>
                    <a:pt x="4448" y="446"/>
                    <a:pt x="4448" y="700"/>
                  </a:cubicBezTo>
                  <a:close/>
                  <a:moveTo>
                    <a:pt x="4787" y="2000"/>
                  </a:moveTo>
                  <a:lnTo>
                    <a:pt x="4568" y="2000"/>
                  </a:lnTo>
                  <a:cubicBezTo>
                    <a:pt x="4501" y="2000"/>
                    <a:pt x="4448" y="2054"/>
                    <a:pt x="4448" y="2120"/>
                  </a:cubicBezTo>
                  <a:cubicBezTo>
                    <a:pt x="4448" y="2187"/>
                    <a:pt x="4501" y="2240"/>
                    <a:pt x="4568" y="2240"/>
                  </a:cubicBezTo>
                  <a:lnTo>
                    <a:pt x="4787" y="2240"/>
                  </a:lnTo>
                  <a:cubicBezTo>
                    <a:pt x="4842" y="2240"/>
                    <a:pt x="4887" y="2285"/>
                    <a:pt x="4887" y="2340"/>
                  </a:cubicBezTo>
                  <a:lnTo>
                    <a:pt x="4887" y="3718"/>
                  </a:lnTo>
                  <a:cubicBezTo>
                    <a:pt x="4887" y="3785"/>
                    <a:pt x="4941" y="3838"/>
                    <a:pt x="5007" y="3838"/>
                  </a:cubicBezTo>
                  <a:cubicBezTo>
                    <a:pt x="5073" y="3838"/>
                    <a:pt x="5127" y="3785"/>
                    <a:pt x="5127" y="3718"/>
                  </a:cubicBezTo>
                  <a:lnTo>
                    <a:pt x="5127" y="2340"/>
                  </a:lnTo>
                  <a:cubicBezTo>
                    <a:pt x="5127" y="2153"/>
                    <a:pt x="4975" y="2000"/>
                    <a:pt x="4787" y="2000"/>
                  </a:cubicBezTo>
                  <a:close/>
                  <a:moveTo>
                    <a:pt x="4568" y="5139"/>
                  </a:moveTo>
                  <a:cubicBezTo>
                    <a:pt x="4501" y="5139"/>
                    <a:pt x="4448" y="5193"/>
                    <a:pt x="4448" y="5259"/>
                  </a:cubicBezTo>
                  <a:lnTo>
                    <a:pt x="4448" y="5281"/>
                  </a:lnTo>
                  <a:cubicBezTo>
                    <a:pt x="4448" y="5347"/>
                    <a:pt x="4501" y="5401"/>
                    <a:pt x="4568" y="5401"/>
                  </a:cubicBezTo>
                  <a:cubicBezTo>
                    <a:pt x="4634" y="5401"/>
                    <a:pt x="4688" y="5347"/>
                    <a:pt x="4688" y="5281"/>
                  </a:cubicBezTo>
                  <a:lnTo>
                    <a:pt x="4688" y="5259"/>
                  </a:lnTo>
                  <a:cubicBezTo>
                    <a:pt x="4688" y="5193"/>
                    <a:pt x="4634" y="5139"/>
                    <a:pt x="4568" y="5139"/>
                  </a:cubicBezTo>
                  <a:close/>
                  <a:moveTo>
                    <a:pt x="4568" y="2439"/>
                  </a:moveTo>
                  <a:cubicBezTo>
                    <a:pt x="4501" y="2439"/>
                    <a:pt x="4448" y="2492"/>
                    <a:pt x="4448" y="2559"/>
                  </a:cubicBezTo>
                  <a:lnTo>
                    <a:pt x="4448" y="4854"/>
                  </a:lnTo>
                  <a:cubicBezTo>
                    <a:pt x="4448" y="4920"/>
                    <a:pt x="4501" y="4974"/>
                    <a:pt x="4568" y="4974"/>
                  </a:cubicBezTo>
                  <a:cubicBezTo>
                    <a:pt x="4634" y="4974"/>
                    <a:pt x="4688" y="4920"/>
                    <a:pt x="4688" y="4854"/>
                  </a:cubicBezTo>
                  <a:lnTo>
                    <a:pt x="4688" y="2559"/>
                  </a:lnTo>
                  <a:cubicBezTo>
                    <a:pt x="4688" y="2492"/>
                    <a:pt x="4634" y="2439"/>
                    <a:pt x="4568" y="2439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/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>
          <a:xfrm>
            <a:off x="669925" y="3153229"/>
            <a:ext cx="5419185" cy="895350"/>
          </a:xfrm>
        </p:spPr>
        <p:txBody>
          <a:bodyPr/>
          <a:lstStyle/>
          <a:p>
            <a:r>
              <a:rPr lang="zh-CN" altLang="en-US" dirty="0">
                <a:ln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数仓的任务</a:t>
            </a:r>
            <a:r>
              <a:rPr lang="zh-CN" altLang="en-US" dirty="0">
                <a:ln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运行模式</a:t>
            </a:r>
            <a:endParaRPr lang="zh-CN" altLang="en-US" dirty="0">
              <a:ln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>
          <a:xfrm>
            <a:off x="707871" y="4479109"/>
            <a:ext cx="5419185" cy="1015623"/>
          </a:xfrm>
        </p:spPr>
        <p:txBody>
          <a:bodyPr/>
          <a:lstStyle/>
          <a:p>
            <a:pPr lvl="0">
              <a:lnSpc>
                <a:spcPct val="100000"/>
              </a:lnSpc>
            </a:pPr>
            <a:r>
              <a:rPr lang="zh-CN" altLang="en-US" dirty="0">
                <a:ln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中华人民共和国</a:t>
            </a:r>
            <a:r>
              <a:rPr lang="en-US" altLang="zh-CN" dirty="0">
                <a:ln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70</a:t>
            </a:r>
            <a:r>
              <a:rPr lang="zh-CN" altLang="en-US" dirty="0">
                <a:ln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华诞</a:t>
            </a:r>
            <a:endParaRPr lang="zh-CN" altLang="en-US" dirty="0">
              <a:ln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sp>
        <p:nvSpPr>
          <p:cNvPr id="9" name="文本框 8"/>
          <p:cNvSpPr txBox="1"/>
          <p:nvPr/>
        </p:nvSpPr>
        <p:spPr>
          <a:xfrm>
            <a:off x="768064" y="1641929"/>
            <a:ext cx="1738201" cy="1511300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1"/>
                </a:solidFill>
                <a:latin typeface="Impact" panose="020B0806030902050204" pitchFamily="34" charset="0"/>
                <a:cs typeface="Arial" panose="020B0604020202090204" pitchFamily="34" charset="0"/>
              </a:rPr>
              <a:t>/01</a:t>
            </a:r>
            <a:endParaRPr lang="zh-CN" altLang="en-US" spc="100" dirty="0">
              <a:solidFill>
                <a:schemeClr val="accent1"/>
              </a:solidFill>
              <a:latin typeface="Impact" panose="020B0806030902050204" pitchFamily="34" charset="0"/>
              <a:cs typeface="Arial" panose="020B0604020202090204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b="0" dirty="0"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+mn-lt"/>
                <a:ea typeface="+mn-ea"/>
                <a:sym typeface="+mn-lt"/>
              </a:rPr>
              <a:t>数仓的任务运行模式</a:t>
            </a:r>
            <a:endParaRPr lang="zh-CN" altLang="en-US">
              <a:ln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 smtClean="0"/>
              <a:t>我爱祖国</a:t>
            </a:r>
            <a:endParaRPr lang="zh-CN" altLang="en-US" smtClean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sp>
        <p:nvSpPr>
          <p:cNvPr id="5" name="标题 1"/>
          <p:cNvSpPr>
            <a:spLocks noGrp="1"/>
          </p:cNvSpPr>
          <p:nvPr/>
        </p:nvSpPr>
        <p:spPr>
          <a:xfrm>
            <a:off x="906780" y="1149350"/>
            <a:ext cx="10850880" cy="4187825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91376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indent="-457200" algn="l">
              <a:buFont typeface="Wingdings" panose="05000000000000000000" charset="0"/>
              <a:buChar char=""/>
            </a:pPr>
            <a:r>
              <a:rPr lang="zh-CN" altLang="en-US" sz="1995"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sym typeface="+mn-ea"/>
              </a:rPr>
              <a:t>每日时间点触发</a:t>
            </a:r>
            <a:endParaRPr lang="zh-CN" altLang="en-US" sz="1995"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sym typeface="+mn-ea"/>
            </a:endParaRPr>
          </a:p>
          <a:p>
            <a:pPr lvl="0" indent="0" algn="l">
              <a:buFont typeface="Wingdings" panose="05000000000000000000" charset="0"/>
            </a:pPr>
            <a:endParaRPr lang="zh-CN" altLang="en-US" sz="1995"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sym typeface="+mn-ea"/>
            </a:endParaRPr>
          </a:p>
          <a:p>
            <a:pPr lvl="0" indent="-457200" algn="l">
              <a:buFont typeface="Wingdings" panose="05000000000000000000" charset="0"/>
              <a:buChar char=""/>
            </a:pPr>
            <a:r>
              <a:rPr lang="zh-CN" altLang="en-US" sz="1995"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sym typeface="+mn-ea"/>
              </a:rPr>
              <a:t>每月、每周、每日、每日多次运行</a:t>
            </a:r>
            <a:endParaRPr lang="zh-CN" altLang="en-US" sz="1995"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sym typeface="+mn-ea"/>
            </a:endParaRPr>
          </a:p>
          <a:p>
            <a:pPr lvl="0" indent="-457200" algn="l">
              <a:buFont typeface="Wingdings" panose="05000000000000000000" charset="0"/>
              <a:buChar char=""/>
            </a:pPr>
            <a:endParaRPr lang="zh-CN" altLang="en-US" sz="1995"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sym typeface="+mn-ea"/>
            </a:endParaRPr>
          </a:p>
          <a:p>
            <a:pPr lvl="0" indent="-457200" algn="l">
              <a:buFont typeface="Wingdings" panose="05000000000000000000" charset="0"/>
              <a:buChar char=""/>
            </a:pPr>
            <a:r>
              <a:rPr lang="zh-CN" altLang="en-US" sz="1995"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sym typeface="+mn-ea"/>
              </a:rPr>
              <a:t>任务批量运行</a:t>
            </a:r>
            <a:endParaRPr lang="zh-CN" altLang="en-US" sz="1995"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sym typeface="+mn-ea"/>
            </a:endParaRPr>
          </a:p>
          <a:p>
            <a:pPr lvl="0" indent="-457200" algn="l">
              <a:buFont typeface="Wingdings" panose="05000000000000000000" charset="0"/>
              <a:buChar char=""/>
            </a:pPr>
            <a:endParaRPr lang="zh-CN" altLang="en-US" sz="1995"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sym typeface="+mn-ea"/>
            </a:endParaRPr>
          </a:p>
          <a:p>
            <a:pPr lvl="0" indent="-457200" algn="l">
              <a:buFont typeface="Wingdings" panose="05000000000000000000" charset="0"/>
              <a:buChar char=""/>
            </a:pPr>
            <a:r>
              <a:rPr lang="zh-CN" altLang="en-US" sz="1995"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sym typeface="+mn-ea"/>
              </a:rPr>
              <a:t>根据依赖关系依次运行</a:t>
            </a:r>
            <a:endParaRPr lang="zh-CN" altLang="en-US" sz="1995"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sym typeface="+mn-ea"/>
            </a:endParaRPr>
          </a:p>
          <a:p>
            <a:pPr lvl="0" indent="0" algn="l">
              <a:buFont typeface="Wingdings" panose="05000000000000000000" charset="0"/>
            </a:pPr>
            <a:endParaRPr lang="zh-CN" altLang="en-US" sz="1995">
              <a:ln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  <a:p>
            <a:pPr lvl="0" indent="-457200" algn="l">
              <a:buFont typeface="Wingdings" panose="05000000000000000000" charset="0"/>
              <a:buChar char=""/>
            </a:pPr>
            <a:r>
              <a:rPr lang="zh-CN" altLang="en-US" sz="1995">
                <a:ln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任务功能</a:t>
            </a:r>
            <a:r>
              <a:rPr lang="zh-CN" altLang="en-US" sz="1995">
                <a:ln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多样</a:t>
            </a:r>
            <a:endParaRPr lang="zh-CN" altLang="en-US" sz="1995">
              <a:ln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  <a:p>
            <a:pPr lvl="0" indent="-457200" algn="l">
              <a:buFont typeface="Wingdings" panose="05000000000000000000" charset="0"/>
              <a:buChar char=""/>
            </a:pPr>
            <a:endParaRPr lang="zh-CN" altLang="en-US" sz="1995">
              <a:ln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  <a:p>
            <a:pPr lvl="0" indent="-457200" algn="l">
              <a:buFont typeface="Wingdings" panose="05000000000000000000" charset="0"/>
              <a:buChar char=""/>
            </a:pPr>
            <a:endParaRPr lang="zh-CN" altLang="en-US" sz="1995">
              <a:ln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  <a:p>
            <a:pPr lvl="0" indent="-457200" algn="l">
              <a:buFont typeface="Wingdings" panose="05000000000000000000" charset="0"/>
              <a:buChar char=""/>
            </a:pPr>
            <a:endParaRPr lang="zh-CN" altLang="en-US" sz="1995">
              <a:ln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pic>
        <p:nvPicPr>
          <p:cNvPr id="8" name="图片 7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669925" y="1244600"/>
            <a:ext cx="11029315" cy="5468620"/>
          </a:xfrm>
          <a:prstGeom prst="rect">
            <a:avLst/>
          </a:prstGeom>
        </p:spPr>
      </p:pic>
    </p:spTree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>
          <a:xfrm>
            <a:off x="669925" y="3153229"/>
            <a:ext cx="5419185" cy="895350"/>
          </a:xfrm>
        </p:spPr>
        <p:txBody>
          <a:bodyPr/>
          <a:lstStyle/>
          <a:p>
            <a:r>
              <a:rPr lang="zh-CN" altLang="en-US" b="0" dirty="0"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+mn-lt"/>
                <a:ea typeface="+mn-ea"/>
                <a:sym typeface="+mn-lt"/>
              </a:rPr>
              <a:t>调度功能说明</a:t>
            </a:r>
            <a:endParaRPr lang="zh-CN" altLang="en-US" dirty="0"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>
          <a:xfrm>
            <a:off x="707871" y="4479109"/>
            <a:ext cx="5419185" cy="1015623"/>
          </a:xfrm>
        </p:spPr>
        <p:txBody>
          <a:bodyPr/>
          <a:lstStyle/>
          <a:p>
            <a:pPr lvl="0">
              <a:lnSpc>
                <a:spcPct val="100000"/>
              </a:lnSpc>
            </a:pPr>
            <a:r>
              <a:rPr lang="zh-CN" altLang="en-US" dirty="0"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我爱我的祖国，一刻也不能分割</a:t>
            </a:r>
            <a:endParaRPr lang="zh-CN" altLang="en-US" dirty="0"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sp>
        <p:nvSpPr>
          <p:cNvPr id="9" name="文本框 8"/>
          <p:cNvSpPr txBox="1"/>
          <p:nvPr/>
        </p:nvSpPr>
        <p:spPr>
          <a:xfrm>
            <a:off x="768064" y="1641929"/>
            <a:ext cx="1738201" cy="1511300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1"/>
                </a:solidFill>
                <a:latin typeface="Impact" panose="020B0806030902050204" pitchFamily="34" charset="0"/>
                <a:cs typeface="Arial" panose="020B0604020202090204" pitchFamily="34" charset="0"/>
              </a:rPr>
              <a:t>/02</a:t>
            </a:r>
            <a:endParaRPr lang="zh-CN" altLang="en-US" spc="100" dirty="0">
              <a:solidFill>
                <a:schemeClr val="accent1"/>
              </a:solidFill>
              <a:latin typeface="Impact" panose="020B0806030902050204" pitchFamily="34" charset="0"/>
              <a:cs typeface="Arial" panose="020B0604020202090204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调度系统</a:t>
            </a:r>
            <a:r>
              <a:rPr lang="zh-CN" altLang="en-US"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功能</a:t>
            </a:r>
            <a:endParaRPr lang="zh-CN" altLang="en-US"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 smtClean="0"/>
              <a:t>我爱祖国</a:t>
            </a:r>
            <a:endParaRPr lang="zh-CN" altLang="en-US" smtClean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sp>
        <p:nvSpPr>
          <p:cNvPr id="5" name="标题 1"/>
          <p:cNvSpPr>
            <a:spLocks noGrp="1"/>
          </p:cNvSpPr>
          <p:nvPr/>
        </p:nvSpPr>
        <p:spPr>
          <a:xfrm>
            <a:off x="670560" y="1028700"/>
            <a:ext cx="10850880" cy="4974590"/>
          </a:xfrm>
          <a:prstGeom prst="rect">
            <a:avLst/>
          </a:prstGeom>
        </p:spPr>
        <p:txBody>
          <a:bodyPr vert="horz" lIns="91440" tIns="45720" rIns="91440" bIns="45720" rtlCol="0" anchor="b">
            <a:normAutofit lnSpcReduction="20000"/>
          </a:bodyPr>
          <a:lstStyle>
            <a:lvl1pPr algn="l" defTabSz="91376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indent="-457200" algn="l">
              <a:buFont typeface="Wingdings" panose="05000000000000000000" charset="0"/>
              <a:buChar char=""/>
            </a:pPr>
            <a:r>
              <a:rPr lang="zh-CN" altLang="en-US" sz="1995"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数据源管理</a:t>
            </a:r>
            <a:endParaRPr lang="zh-CN" altLang="en-US" sz="1995"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  <a:p>
            <a:pPr lvl="0" indent="-457200" algn="l">
              <a:buFont typeface="Wingdings" panose="05000000000000000000" charset="0"/>
              <a:buChar char=""/>
            </a:pPr>
            <a:endParaRPr lang="zh-CN" altLang="en-US" sz="1995"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  <a:p>
            <a:pPr lvl="0" indent="-457200" algn="l">
              <a:buFont typeface="Wingdings" panose="05000000000000000000" charset="0"/>
              <a:buChar char=""/>
            </a:pPr>
            <a:r>
              <a:rPr lang="zh-CN" altLang="en-US" sz="1995"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任务增删改查</a:t>
            </a:r>
            <a:endParaRPr lang="zh-CN" altLang="en-US" sz="1995"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  <a:p>
            <a:pPr lvl="0" indent="-457200" algn="l">
              <a:buFont typeface="Wingdings" panose="05000000000000000000" charset="0"/>
              <a:buChar char=""/>
            </a:pPr>
            <a:endParaRPr lang="zh-CN" altLang="en-US" sz="1995"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  <a:p>
            <a:pPr lvl="0" indent="-457200" algn="l">
              <a:buFont typeface="Wingdings" panose="05000000000000000000" charset="0"/>
              <a:buChar char=""/>
            </a:pPr>
            <a:r>
              <a:rPr lang="zh-CN" altLang="en-US" sz="1995"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任务优先级、超时时间</a:t>
            </a:r>
            <a:r>
              <a:rPr lang="zh-CN" altLang="en-US" sz="1995"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、重试次数</a:t>
            </a:r>
            <a:r>
              <a:rPr lang="zh-CN" altLang="en-US" sz="1995"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设定</a:t>
            </a:r>
            <a:endParaRPr lang="zh-CN" altLang="en-US" sz="1995"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  <a:p>
            <a:pPr lvl="0" indent="-457200" algn="l">
              <a:buFont typeface="Wingdings" panose="05000000000000000000" charset="0"/>
              <a:buChar char=""/>
            </a:pPr>
            <a:endParaRPr lang="zh-CN" altLang="en-US" sz="1995"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  <a:p>
            <a:pPr lvl="0" indent="-457200" algn="l">
              <a:buFont typeface="Wingdings" panose="05000000000000000000" charset="0"/>
              <a:buChar char=""/>
            </a:pPr>
            <a:r>
              <a:rPr lang="zh-CN" altLang="en-US" sz="1995"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任务定时及</a:t>
            </a:r>
            <a:r>
              <a:rPr lang="zh-CN" altLang="en-US" sz="1995"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调度管理任务</a:t>
            </a:r>
            <a:endParaRPr lang="zh-CN" altLang="en-US" sz="1995"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  <a:p>
            <a:pPr lvl="0" indent="-457200" algn="l">
              <a:buFont typeface="Wingdings" panose="05000000000000000000" charset="0"/>
              <a:buChar char=""/>
            </a:pPr>
            <a:endParaRPr lang="zh-CN" altLang="en-US" sz="1995"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  <a:p>
            <a:pPr lvl="0" indent="-457200" algn="l">
              <a:buFont typeface="Wingdings" panose="05000000000000000000" charset="0"/>
              <a:buChar char=""/>
            </a:pPr>
            <a:r>
              <a:rPr lang="zh-CN" altLang="en-US" sz="1995"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监控任务执行过程，告警</a:t>
            </a:r>
            <a:endParaRPr lang="zh-CN" altLang="en-US" sz="1995"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  <a:p>
            <a:pPr lvl="0" indent="-457200" algn="l">
              <a:buFont typeface="Wingdings" panose="05000000000000000000" charset="0"/>
              <a:buChar char=""/>
            </a:pPr>
            <a:endParaRPr lang="zh-CN" altLang="en-US" sz="1995"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  <a:p>
            <a:pPr lvl="0" indent="-457200" algn="l">
              <a:buFont typeface="Wingdings" panose="05000000000000000000" charset="0"/>
              <a:buChar char=""/>
            </a:pPr>
            <a:r>
              <a:rPr lang="zh-CN" altLang="en-US" sz="1995"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查询任务执行日志，处理问题</a:t>
            </a:r>
            <a:endParaRPr lang="zh-CN" altLang="en-US" sz="1995"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  <a:p>
            <a:pPr lvl="0" indent="-457200" algn="l">
              <a:buFont typeface="Wingdings" panose="05000000000000000000" charset="0"/>
              <a:buChar char=""/>
            </a:pPr>
            <a:endParaRPr lang="zh-CN" altLang="en-US" sz="1995"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  <a:p>
            <a:pPr lvl="0" indent="-457200" algn="l">
              <a:buFont typeface="Wingdings" panose="05000000000000000000" charset="0"/>
              <a:buChar char=""/>
            </a:pPr>
            <a:r>
              <a:rPr lang="zh-CN" altLang="en-US" sz="1995"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任务手工执行，连续及批量执行</a:t>
            </a:r>
            <a:endParaRPr lang="zh-CN" altLang="en-US" sz="1995"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  <a:p>
            <a:pPr lvl="0" indent="-457200" algn="l">
              <a:buFont typeface="Wingdings" panose="05000000000000000000" charset="0"/>
              <a:buChar char=""/>
            </a:pPr>
            <a:endParaRPr lang="zh-CN" altLang="en-US" sz="1995"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  <a:p>
            <a:pPr lvl="0" indent="-457200" algn="l">
              <a:buFont typeface="Wingdings" panose="05000000000000000000" charset="0"/>
              <a:buChar char=""/>
            </a:pPr>
            <a:r>
              <a:rPr lang="zh-CN" altLang="en-US" sz="1995"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任务依赖关系管理</a:t>
            </a:r>
            <a:endParaRPr lang="zh-CN" altLang="en-US" sz="1995"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  <a:p>
            <a:pPr lvl="0" indent="-457200" algn="l">
              <a:buFont typeface="Wingdings" panose="05000000000000000000" charset="0"/>
              <a:buChar char=""/>
            </a:pPr>
            <a:endParaRPr lang="zh-CN" altLang="en-US" sz="1995"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  <a:p>
            <a:pPr lvl="0" indent="-457200" algn="l">
              <a:buFont typeface="Wingdings" panose="05000000000000000000" charset="0"/>
              <a:buChar char=""/>
            </a:pPr>
            <a:r>
              <a:rPr lang="zh-CN" altLang="en-US" sz="1995"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任务功能自定义</a:t>
            </a:r>
            <a:endParaRPr lang="zh-CN" altLang="en-US" sz="1995"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  <a:p>
            <a:pPr lvl="0" indent="-457200" algn="l">
              <a:buFont typeface="Wingdings" panose="05000000000000000000" charset="0"/>
              <a:buChar char=""/>
            </a:pPr>
            <a:endParaRPr lang="zh-CN" altLang="en-US" sz="1995"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  <a:p>
            <a:pPr lvl="0" indent="-457200" algn="l">
              <a:buFont typeface="Wingdings" panose="05000000000000000000" charset="0"/>
              <a:buChar char=""/>
            </a:pPr>
            <a:r>
              <a:rPr lang="zh-CN" altLang="en-US" sz="1995"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自定义</a:t>
            </a:r>
            <a:r>
              <a:rPr lang="zh-CN" altLang="en-US" sz="1995"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系统参数</a:t>
            </a:r>
            <a:endParaRPr lang="zh-CN" altLang="en-US" sz="1995"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  <a:p>
            <a:pPr lvl="0" indent="-457200" algn="l">
              <a:buFont typeface="Wingdings" panose="05000000000000000000" charset="0"/>
              <a:buChar char=""/>
            </a:pPr>
            <a:endParaRPr lang="zh-CN" altLang="en-US" sz="1995"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  <a:p>
            <a:pPr lvl="0" indent="-457200" algn="l">
              <a:buFont typeface="Wingdings" panose="05000000000000000000" charset="0"/>
              <a:buChar char=""/>
            </a:pPr>
            <a:endParaRPr lang="zh-CN" altLang="en-US" sz="1995"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  <a:p>
            <a:pPr lvl="0" indent="-457200" algn="l">
              <a:buFont typeface="Wingdings" panose="05000000000000000000" charset="0"/>
              <a:buChar char=""/>
            </a:pPr>
            <a:endParaRPr lang="zh-CN" altLang="en-US" sz="1995"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pic>
        <p:nvPicPr>
          <p:cNvPr id="7" name="图片 6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3469005" y="1840230"/>
            <a:ext cx="8190230" cy="4606925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调度系统功能</a:t>
            </a:r>
            <a:endParaRPr lang="zh-CN" altLang="en-US"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 smtClean="0"/>
              <a:t>我爱祖国</a:t>
            </a:r>
            <a:endParaRPr lang="zh-CN" altLang="en-US" smtClean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sp>
        <p:nvSpPr>
          <p:cNvPr id="5" name="标题 1"/>
          <p:cNvSpPr>
            <a:spLocks noGrp="1"/>
          </p:cNvSpPr>
          <p:nvPr/>
        </p:nvSpPr>
        <p:spPr>
          <a:xfrm>
            <a:off x="670560" y="1029335"/>
            <a:ext cx="10850880" cy="3471545"/>
          </a:xfrm>
          <a:prstGeom prst="rect">
            <a:avLst/>
          </a:prstGeom>
        </p:spPr>
        <p:txBody>
          <a:bodyPr vert="horz" lIns="91440" tIns="45720" rIns="91440" bIns="45720" rtlCol="0" anchor="b">
            <a:normAutofit lnSpcReduction="10000"/>
          </a:bodyPr>
          <a:lstStyle>
            <a:lvl1pPr algn="l" defTabSz="91376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indent="-457200" algn="l">
              <a:buFont typeface="Wingdings" panose="05000000000000000000" charset="0"/>
              <a:buChar char=""/>
            </a:pPr>
            <a:r>
              <a:rPr lang="zh-CN" altLang="en-US" sz="1995"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自定义抽取数据</a:t>
            </a:r>
            <a:r>
              <a:rPr lang="zh-CN" altLang="en-US" sz="1995"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功能任务</a:t>
            </a:r>
            <a:endParaRPr lang="zh-CN" altLang="en-US" sz="1995"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  <a:p>
            <a:pPr lvl="0" indent="0" algn="l">
              <a:buFont typeface="Wingdings" panose="05000000000000000000" charset="0"/>
            </a:pPr>
            <a:endParaRPr lang="zh-CN" altLang="en-US" sz="1995"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  <a:p>
            <a:pPr lvl="0" indent="-457200" algn="l">
              <a:buFont typeface="Wingdings" panose="05000000000000000000" charset="0"/>
              <a:buChar char=""/>
            </a:pPr>
            <a:r>
              <a:rPr lang="zh-CN" altLang="en-US" sz="1995"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sym typeface="+mn-ea"/>
              </a:rPr>
              <a:t>自定义数据导出任务</a:t>
            </a:r>
            <a:endParaRPr lang="zh-CN" altLang="en-US" sz="1995"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  <a:p>
            <a:pPr lvl="0" indent="-457200" algn="l">
              <a:buFont typeface="Wingdings" panose="05000000000000000000" charset="0"/>
              <a:buChar char=""/>
            </a:pPr>
            <a:endParaRPr lang="zh-CN" altLang="en-US" sz="1995"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  <a:p>
            <a:pPr lvl="0" indent="-457200" algn="l">
              <a:buFont typeface="Wingdings" panose="05000000000000000000" charset="0"/>
              <a:buChar char=""/>
            </a:pPr>
            <a:r>
              <a:rPr lang="zh-CN" altLang="en-US" sz="1995"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sym typeface="+mn-ea"/>
              </a:rPr>
              <a:t>自定义生成数据接入任务</a:t>
            </a:r>
            <a:endParaRPr lang="zh-CN" altLang="en-US" sz="1995"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  <a:p>
            <a:pPr lvl="0" indent="-457200" algn="l">
              <a:buFont typeface="Wingdings" panose="05000000000000000000" charset="0"/>
              <a:buChar char=""/>
            </a:pPr>
            <a:endParaRPr lang="zh-CN" altLang="en-US" sz="1995"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  <a:p>
            <a:pPr lvl="0" indent="-457200" algn="l">
              <a:buFont typeface="Wingdings" panose="05000000000000000000" charset="0"/>
              <a:buChar char=""/>
            </a:pPr>
            <a:r>
              <a:rPr lang="zh-CN" altLang="en-US" sz="1995"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自定义邮件发送功能任务</a:t>
            </a:r>
            <a:endParaRPr lang="zh-CN" altLang="en-US" sz="1995"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  <a:p>
            <a:pPr lvl="0" indent="-457200" algn="l">
              <a:buFont typeface="Wingdings" panose="05000000000000000000" charset="0"/>
              <a:buChar char=""/>
            </a:pPr>
            <a:endParaRPr lang="zh-CN" altLang="en-US" sz="1995"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  <a:p>
            <a:pPr lvl="0" indent="-457200" algn="l">
              <a:buFont typeface="Wingdings" panose="05000000000000000000" charset="0"/>
              <a:buChar char=""/>
            </a:pPr>
            <a:endParaRPr lang="zh-CN" altLang="en-US" sz="1995"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  <a:p>
            <a:pPr lvl="0" indent="0" algn="l">
              <a:buFont typeface="Wingdings" panose="05000000000000000000" charset="0"/>
            </a:pPr>
            <a:endParaRPr lang="zh-CN" altLang="en-US" sz="1995"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  <a:p>
            <a:pPr lvl="0" indent="-457200" algn="l">
              <a:buFont typeface="Wingdings" panose="05000000000000000000" charset="0"/>
              <a:buChar char=""/>
            </a:pPr>
            <a:endParaRPr lang="zh-CN" altLang="en-US" sz="1995"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  <a:p>
            <a:pPr lvl="0" indent="-457200" algn="l">
              <a:buFont typeface="Wingdings" panose="05000000000000000000" charset="0"/>
              <a:buChar char=""/>
            </a:pPr>
            <a:endParaRPr lang="zh-CN" altLang="en-US" sz="1995"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  <a:p>
            <a:pPr lvl="0" indent="-457200" algn="l">
              <a:buFont typeface="Wingdings" panose="05000000000000000000" charset="0"/>
              <a:buChar char=""/>
            </a:pPr>
            <a:endParaRPr lang="zh-CN" altLang="en-US" sz="1995"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>
          <a:xfrm>
            <a:off x="669925" y="3153229"/>
            <a:ext cx="5419185" cy="895350"/>
          </a:xfrm>
        </p:spPr>
        <p:txBody>
          <a:bodyPr/>
          <a:lstStyle/>
          <a:p>
            <a:r>
              <a:rPr lang="zh-CN" altLang="en-US" b="0" dirty="0"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+mn-lt"/>
                <a:ea typeface="+mn-ea"/>
                <a:sym typeface="+mn-lt"/>
              </a:rPr>
              <a:t>调度系统设计</a:t>
            </a:r>
            <a:endParaRPr lang="zh-CN" altLang="en-US" b="0" dirty="0"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latin typeface="+mn-lt"/>
              <a:ea typeface="+mn-ea"/>
              <a:sym typeface="+mn-lt"/>
            </a:endParaRPr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>
          <a:xfrm>
            <a:off x="707871" y="4479109"/>
            <a:ext cx="5419185" cy="1015623"/>
          </a:xfrm>
        </p:spPr>
        <p:txBody>
          <a:bodyPr/>
          <a:lstStyle/>
          <a:p>
            <a:pPr lvl="0">
              <a:lnSpc>
                <a:spcPct val="100000"/>
              </a:lnSpc>
            </a:pPr>
            <a:r>
              <a:rPr lang="zh-CN" altLang="en-US" dirty="0"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我爱我的祖国，为你唱首赞歌</a:t>
            </a:r>
            <a:endParaRPr lang="zh-CN" altLang="en-US" dirty="0"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sp>
        <p:nvSpPr>
          <p:cNvPr id="9" name="文本框 8"/>
          <p:cNvSpPr txBox="1"/>
          <p:nvPr/>
        </p:nvSpPr>
        <p:spPr>
          <a:xfrm>
            <a:off x="768064" y="1641929"/>
            <a:ext cx="1738201" cy="1511300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1"/>
                </a:solidFill>
                <a:latin typeface="Impact" panose="020B0806030902050204" pitchFamily="34" charset="0"/>
                <a:cs typeface="Arial" panose="020B0604020202090204" pitchFamily="34" charset="0"/>
              </a:rPr>
              <a:t>/03</a:t>
            </a:r>
            <a:endParaRPr lang="zh-CN" altLang="en-US" spc="100" dirty="0">
              <a:solidFill>
                <a:schemeClr val="accent1"/>
              </a:solidFill>
              <a:latin typeface="Impact" panose="020B0806030902050204" pitchFamily="34" charset="0"/>
              <a:cs typeface="Arial" panose="020B0604020202090204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调度系统设计</a:t>
            </a:r>
            <a:endParaRPr lang="zh-CN" altLang="en-US"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 smtClean="0"/>
              <a:t>我爱祖国</a:t>
            </a:r>
            <a:endParaRPr lang="zh-CN" altLang="en-US" smtClean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sp>
        <p:nvSpPr>
          <p:cNvPr id="5" name="标题 1"/>
          <p:cNvSpPr>
            <a:spLocks noGrp="1"/>
          </p:cNvSpPr>
          <p:nvPr/>
        </p:nvSpPr>
        <p:spPr>
          <a:xfrm>
            <a:off x="670560" y="2564130"/>
            <a:ext cx="10850880" cy="4836795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91376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indent="-457200" algn="l">
              <a:buFont typeface="Wingdings" panose="05000000000000000000" charset="0"/>
              <a:buChar char=""/>
            </a:pPr>
            <a:r>
              <a:rPr lang="zh-CN" altLang="en-US" sz="1995"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单一调度节点、多个工作节点</a:t>
            </a:r>
            <a:endParaRPr lang="zh-CN" altLang="en-US" sz="1995"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  <a:p>
            <a:pPr lvl="0" indent="-457200" algn="l">
              <a:buFont typeface="Wingdings" panose="05000000000000000000" charset="0"/>
              <a:buChar char=""/>
            </a:pPr>
            <a:r>
              <a:rPr lang="zh-CN" altLang="en-US" sz="1995"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设置</a:t>
            </a:r>
            <a:r>
              <a:rPr lang="en-US" altLang="zh-CN" sz="1995"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SSH</a:t>
            </a:r>
            <a:r>
              <a:rPr lang="zh-CN" altLang="en-US" sz="1995"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免密登录</a:t>
            </a:r>
            <a:endParaRPr lang="zh-CN" altLang="en-US" sz="1995"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  <a:p>
            <a:pPr lvl="0" indent="-457200" algn="l">
              <a:buFont typeface="Wingdings" panose="05000000000000000000" charset="0"/>
              <a:buChar char=""/>
            </a:pPr>
            <a:r>
              <a:rPr lang="en-US" altLang="zh-CN" sz="1995"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Master</a:t>
            </a:r>
            <a:r>
              <a:rPr lang="zh-CN" altLang="en-US" sz="1995"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与</a:t>
            </a:r>
            <a:r>
              <a:rPr lang="en-US" altLang="zh-CN" sz="1995"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Worker</a:t>
            </a:r>
            <a:r>
              <a:rPr lang="zh-CN" altLang="en-US" sz="1995"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间使用socket发送心跳、</a:t>
            </a:r>
            <a:r>
              <a:rPr lang="zh-CN" altLang="en-US" sz="1995"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sym typeface="+mn-ea"/>
              </a:rPr>
              <a:t>使用</a:t>
            </a:r>
            <a:r>
              <a:rPr lang="en-US" altLang="zh-CN" sz="1995"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sym typeface="+mn-ea"/>
              </a:rPr>
              <a:t>queue</a:t>
            </a:r>
            <a:r>
              <a:rPr lang="zh-CN" altLang="en-US" sz="1995"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sym typeface="+mn-ea"/>
              </a:rPr>
              <a:t>传输任务</a:t>
            </a:r>
            <a:endParaRPr lang="zh-CN" altLang="en-US" sz="1995"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  <a:p>
            <a:pPr lvl="0" indent="-457200" algn="l">
              <a:buFont typeface="Wingdings" panose="05000000000000000000" charset="0"/>
              <a:buChar char=""/>
            </a:pPr>
            <a:endParaRPr lang="zh-CN" altLang="en-US" sz="1995"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  <a:p>
            <a:pPr lvl="0" indent="-457200" algn="l">
              <a:buFont typeface="Wingdings" panose="05000000000000000000" charset="0"/>
              <a:buChar char=""/>
            </a:pPr>
            <a:r>
              <a:rPr lang="zh-CN" altLang="en-US" sz="1995"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表设计</a:t>
            </a:r>
            <a:endParaRPr lang="zh-CN" altLang="en-US" sz="1995"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  <a:p>
            <a:pPr lvl="0" indent="0" algn="l">
              <a:buFont typeface="Wingdings" panose="05000000000000000000" charset="0"/>
            </a:pPr>
            <a:r>
              <a:rPr lang="zh-CN" altLang="en-US" sz="1995"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db_source_cfg --数据源配置表，抽取线上系统数据需在此表中进行配置</a:t>
            </a:r>
            <a:endParaRPr lang="zh-CN" altLang="en-US" sz="1995"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  <a:p>
            <a:pPr lvl="0" indent="0" algn="l">
              <a:buFont typeface="Wingdings" panose="05000000000000000000" charset="0"/>
            </a:pPr>
            <a:r>
              <a:rPr lang="zh-CN" altLang="en-US" sz="1995"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exec_cfg --抽取任务类别表，用于拓展普通抽取和分库分表抽取</a:t>
            </a:r>
            <a:endParaRPr lang="zh-CN" altLang="en-US" sz="1995"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  <a:p>
            <a:pPr lvl="0" indent="0" algn="l">
              <a:buFont typeface="Wingdings" panose="05000000000000000000" charset="0"/>
            </a:pPr>
            <a:r>
              <a:rPr lang="zh-CN" altLang="en-US" sz="1995"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first_permission --WEB端访问一级权限配置表</a:t>
            </a:r>
            <a:endParaRPr lang="zh-CN" altLang="en-US" sz="1995"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  <a:p>
            <a:pPr lvl="0" indent="0" algn="l">
              <a:buFont typeface="Wingdings" panose="05000000000000000000" charset="0"/>
            </a:pPr>
            <a:r>
              <a:rPr lang="zh-CN" altLang="en-US" sz="1995"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second_permission --WEB端访问二级权限配置表</a:t>
            </a:r>
            <a:endParaRPr lang="zh-CN" altLang="en-US" sz="1995"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  <a:p>
            <a:pPr lvl="0" indent="0" algn="l">
              <a:buFont typeface="Wingdings" panose="05000000000000000000" charset="0"/>
            </a:pPr>
            <a:r>
              <a:rPr lang="zh-CN" altLang="en-US" sz="1995"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third_permission --WEB端访问三级权限配置表</a:t>
            </a:r>
            <a:endParaRPr lang="zh-CN" altLang="en-US" sz="1995"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  <a:p>
            <a:pPr lvl="0" indent="0" algn="l">
              <a:buFont typeface="Wingdings" panose="05000000000000000000" charset="0"/>
            </a:pPr>
            <a:r>
              <a:rPr lang="zh-CN" altLang="en-US" sz="1995"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sched_job --运行任务主表，记录所有运行的任务及任务属性</a:t>
            </a:r>
            <a:endParaRPr lang="zh-CN" altLang="en-US" sz="1995"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  <a:p>
            <a:pPr lvl="0" indent="0" algn="l">
              <a:buFont typeface="Wingdings" panose="05000000000000000000" charset="0"/>
            </a:pPr>
            <a:r>
              <a:rPr lang="zh-CN" altLang="en-US" sz="1995"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sched_job_record --任务运行状态表，记录任务运行的当前状态，与sched_job一一对应</a:t>
            </a:r>
            <a:endParaRPr lang="zh-CN" altLang="en-US" sz="1995"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  <a:p>
            <a:pPr lvl="0" indent="0" algn="l">
              <a:buFont typeface="Wingdings" panose="05000000000000000000" charset="0"/>
            </a:pPr>
            <a:r>
              <a:rPr lang="zh-CN" altLang="en-US" sz="1995"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sched_job_log --任务运行日志表，记录任务运行的历史状态及运行时间</a:t>
            </a:r>
            <a:endParaRPr lang="zh-CN" altLang="en-US" sz="1995"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  <a:p>
            <a:pPr lvl="0" indent="0" algn="l">
              <a:buFont typeface="Wingdings" panose="05000000000000000000" charset="0"/>
            </a:pPr>
            <a:r>
              <a:rPr lang="zh-CN" altLang="en-US" sz="1995"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sched_job_dependency --任务依赖表，记录任务间的依赖关系</a:t>
            </a:r>
            <a:endParaRPr lang="zh-CN" altLang="en-US" sz="1995"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  <a:p>
            <a:pPr lvl="0" indent="0" algn="l">
              <a:buFont typeface="Wingdings" panose="05000000000000000000" charset="0"/>
            </a:pPr>
            <a:r>
              <a:rPr lang="zh-CN" altLang="en-US" sz="1995"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sched_job_user --调度平台用户表，此表数据应与sched_job.man对应</a:t>
            </a:r>
            <a:endParaRPr lang="zh-CN" altLang="en-US" sz="1995"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  <a:p>
            <a:pPr lvl="0" indent="0" algn="l">
              <a:buFont typeface="Wingdings" panose="05000000000000000000" charset="0"/>
            </a:pPr>
            <a:r>
              <a:rPr lang="zh-CN" altLang="en-US" sz="1995"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sep_tb_cfg --分库分表抽取配置表</a:t>
            </a:r>
            <a:endParaRPr lang="zh-CN" altLang="en-US" sz="1995"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  <a:p>
            <a:pPr lvl="0" indent="0" algn="l">
              <a:buFont typeface="Wingdings" panose="05000000000000000000" charset="0"/>
            </a:pPr>
            <a:r>
              <a:rPr lang="zh-CN" altLang="en-US" sz="1995"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task_info_cfg --抽取任务配置表</a:t>
            </a:r>
            <a:endParaRPr lang="zh-CN" altLang="en-US" sz="1995"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  <a:p>
            <a:pPr lvl="0" indent="-457200" algn="l">
              <a:buFont typeface="Wingdings" panose="05000000000000000000" charset="0"/>
              <a:buChar char=""/>
            </a:pPr>
            <a:endParaRPr lang="zh-CN" altLang="en-US" sz="1995"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  <a:p>
            <a:pPr lvl="0" indent="0" algn="l">
              <a:buFont typeface="Wingdings" panose="05000000000000000000" charset="0"/>
            </a:pPr>
            <a:endParaRPr lang="zh-CN" altLang="en-US" sz="1995"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  <a:p>
            <a:pPr lvl="0" indent="-457200" algn="l">
              <a:buFont typeface="Wingdings" panose="05000000000000000000" charset="0"/>
              <a:buChar char=""/>
            </a:pPr>
            <a:endParaRPr lang="zh-CN" altLang="en-US" sz="1995"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  <a:p>
            <a:pPr lvl="0" indent="-457200" algn="l">
              <a:buFont typeface="Wingdings" panose="05000000000000000000" charset="0"/>
              <a:buChar char=""/>
            </a:pPr>
            <a:endParaRPr lang="zh-CN" altLang="en-US" sz="1995"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  <a:p>
            <a:pPr lvl="0" indent="-457200" algn="l">
              <a:buFont typeface="Wingdings" panose="05000000000000000000" charset="0"/>
              <a:buChar char=""/>
            </a:pPr>
            <a:endParaRPr lang="zh-CN" altLang="en-US" sz="1995"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pic>
        <p:nvPicPr>
          <p:cNvPr id="7" name="图片 6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2527300" y="1751965"/>
            <a:ext cx="6501765" cy="376555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p="http://schemas.openxmlformats.org/presentationml/2006/main">
  <p:tag name="THINKCELLSHAPEDONOTDELETE" val="thinkcellActiveDocDoNotDelete"/>
</p:tagLst>
</file>

<file path=ppt/tags/tag2.xml><?xml version="1.0" encoding="utf-8"?>
<p:tagLst xmlns:p="http://schemas.openxmlformats.org/presentationml/2006/main">
  <p:tag name="THINKCELLSHAPEDONOTDELETE" val="tA6S0wzOvQ8a50SA42PUNRg"/>
</p:tagLst>
</file>

<file path=ppt/tags/tag3.xml><?xml version="1.0" encoding="utf-8"?>
<p:tagLst xmlns:p="http://schemas.openxmlformats.org/presentationml/2006/main">
  <p:tag name="ISLIDE.DIAGRAM" val="2b751056-6b97-492c-b763-340acee7e99d"/>
</p:tagLst>
</file>

<file path=ppt/tags/tag4.xml><?xml version="1.0" encoding="utf-8"?>
<p:tagLst xmlns:p="http://schemas.openxmlformats.org/presentationml/2006/main">
  <p:tag name="THINKCELLSHAPEDONOTDELETE" val="thinkcellActiveDocDoNotDelete"/>
</p:tagLst>
</file>

<file path=ppt/tags/tag5.xml><?xml version="1.0" encoding="utf-8"?>
<p:tagLst xmlns:p="http://schemas.openxmlformats.org/presentationml/2006/main">
  <p:tag name="THINKCELLSHAPEDONOTDELETE" val="t1Smkff3fSzGMOuItfjj3Fw"/>
</p:tagLst>
</file>

<file path=ppt/theme/theme1.xml><?xml version="1.0" encoding="utf-8"?>
<a:theme xmlns:a="http://schemas.openxmlformats.org/drawingml/2006/main" name="主题5">
  <a:themeElements>
    <a:clrScheme name="房利美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D0111A"/>
      </a:accent1>
      <a:accent2>
        <a:srgbClr val="F96B1E"/>
      </a:accent2>
      <a:accent3>
        <a:srgbClr val="FCB102"/>
      </a:accent3>
      <a:accent4>
        <a:srgbClr val="F6846E"/>
      </a:accent4>
      <a:accent5>
        <a:srgbClr val="F9280E"/>
      </a:accent5>
      <a:accent6>
        <a:srgbClr val="FF9F4F"/>
      </a:accent6>
      <a:hlink>
        <a:srgbClr val="4472C4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D0111A"/>
    </a:accent1>
    <a:accent2>
      <a:srgbClr val="F96B1E"/>
    </a:accent2>
    <a:accent3>
      <a:srgbClr val="FCB102"/>
    </a:accent3>
    <a:accent4>
      <a:srgbClr val="F6846E"/>
    </a:accent4>
    <a:accent5>
      <a:srgbClr val="F9280E"/>
    </a:accent5>
    <a:accent6>
      <a:srgbClr val="FF9F4F"/>
    </a:accent6>
    <a:hlink>
      <a:srgbClr val="4472C4"/>
    </a:hlink>
    <a:folHlink>
      <a:srgbClr val="BFBFBF"/>
    </a:folHlink>
  </a:clrScheme>
</a:themeOverride>
</file>

<file path=ppt/theme/themeOverride2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D0111A"/>
    </a:accent1>
    <a:accent2>
      <a:srgbClr val="F96B1E"/>
    </a:accent2>
    <a:accent3>
      <a:srgbClr val="FCB102"/>
    </a:accent3>
    <a:accent4>
      <a:srgbClr val="F6846E"/>
    </a:accent4>
    <a:accent5>
      <a:srgbClr val="F9280E"/>
    </a:accent5>
    <a:accent6>
      <a:srgbClr val="FF9F4F"/>
    </a:accent6>
    <a:hlink>
      <a:srgbClr val="4472C4"/>
    </a:hlink>
    <a:folHlink>
      <a:srgbClr val="BFBFBF"/>
    </a:folHlink>
  </a:clrScheme>
</a:themeOverride>
</file>

<file path=ppt/theme/themeOverride3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D0111A"/>
    </a:accent1>
    <a:accent2>
      <a:srgbClr val="F96B1E"/>
    </a:accent2>
    <a:accent3>
      <a:srgbClr val="FCB102"/>
    </a:accent3>
    <a:accent4>
      <a:srgbClr val="F6846E"/>
    </a:accent4>
    <a:accent5>
      <a:srgbClr val="F9280E"/>
    </a:accent5>
    <a:accent6>
      <a:srgbClr val="FF9F4F"/>
    </a:accent6>
    <a:hlink>
      <a:srgbClr val="4472C4"/>
    </a:hlink>
    <a:folHlink>
      <a:srgbClr val="BFBFBF"/>
    </a:folHlink>
  </a:clrScheme>
</a:themeOverride>
</file>

<file path=ppt/theme/themeOverride4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D0111A"/>
    </a:accent1>
    <a:accent2>
      <a:srgbClr val="F96B1E"/>
    </a:accent2>
    <a:accent3>
      <a:srgbClr val="FCB102"/>
    </a:accent3>
    <a:accent4>
      <a:srgbClr val="F6846E"/>
    </a:accent4>
    <a:accent5>
      <a:srgbClr val="F9280E"/>
    </a:accent5>
    <a:accent6>
      <a:srgbClr val="FF9F4F"/>
    </a:accent6>
    <a:hlink>
      <a:srgbClr val="4472C4"/>
    </a:hlink>
    <a:folHlink>
      <a:srgbClr val="BFBFBF"/>
    </a:folHlink>
  </a:clrScheme>
</a:themeOverride>
</file>

<file path=ppt/theme/themeOverride5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D0111A"/>
    </a:accent1>
    <a:accent2>
      <a:srgbClr val="F96B1E"/>
    </a:accent2>
    <a:accent3>
      <a:srgbClr val="FCB102"/>
    </a:accent3>
    <a:accent4>
      <a:srgbClr val="F6846E"/>
    </a:accent4>
    <a:accent5>
      <a:srgbClr val="F9280E"/>
    </a:accent5>
    <a:accent6>
      <a:srgbClr val="FF9F4F"/>
    </a:accent6>
    <a:hlink>
      <a:srgbClr val="4472C4"/>
    </a:hlink>
    <a:folHlink>
      <a:srgbClr val="BFBFBF"/>
    </a:folHlink>
  </a:clrScheme>
</a:themeOverride>
</file>

<file path=ppt/theme/themeOverride6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D0111A"/>
    </a:accent1>
    <a:accent2>
      <a:srgbClr val="F96B1E"/>
    </a:accent2>
    <a:accent3>
      <a:srgbClr val="FCB102"/>
    </a:accent3>
    <a:accent4>
      <a:srgbClr val="F6846E"/>
    </a:accent4>
    <a:accent5>
      <a:srgbClr val="F9280E"/>
    </a:accent5>
    <a:accent6>
      <a:srgbClr val="FF9F4F"/>
    </a:accent6>
    <a:hlink>
      <a:srgbClr val="4472C4"/>
    </a:hlink>
    <a:folHlink>
      <a:srgbClr val="BFBFBF"/>
    </a:folHlink>
  </a:clrScheme>
</a:themeOverride>
</file>

<file path=ppt/theme/themeOverride7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D0111A"/>
    </a:accent1>
    <a:accent2>
      <a:srgbClr val="F96B1E"/>
    </a:accent2>
    <a:accent3>
      <a:srgbClr val="FCB102"/>
    </a:accent3>
    <a:accent4>
      <a:srgbClr val="F6846E"/>
    </a:accent4>
    <a:accent5>
      <a:srgbClr val="F9280E"/>
    </a:accent5>
    <a:accent6>
      <a:srgbClr val="FF9F4F"/>
    </a:accent6>
    <a:hlink>
      <a:srgbClr val="4472C4"/>
    </a:hlink>
    <a:folHlink>
      <a:srgbClr val="BFBFBF"/>
    </a:folHlink>
  </a:clrScheme>
</a:themeOverride>
</file>

<file path=ppt/theme/themeOverride8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D0111A"/>
    </a:accent1>
    <a:accent2>
      <a:srgbClr val="F96B1E"/>
    </a:accent2>
    <a:accent3>
      <a:srgbClr val="FCB102"/>
    </a:accent3>
    <a:accent4>
      <a:srgbClr val="F6846E"/>
    </a:accent4>
    <a:accent5>
      <a:srgbClr val="F9280E"/>
    </a:accent5>
    <a:accent6>
      <a:srgbClr val="FF9F4F"/>
    </a:accent6>
    <a:hlink>
      <a:srgbClr val="4472C4"/>
    </a:hlink>
    <a:folHlink>
      <a:srgbClr val="BFBFB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iSlide</Template>
  <TotalTime>0</TotalTime>
  <Words>1277</Words>
  <Application>WPS 表格</Application>
  <PresentationFormat>宽屏</PresentationFormat>
  <Paragraphs>195</Paragraphs>
  <Slides>14</Slides>
  <Notes>3</Notes>
  <HiddenSlides>3</HiddenSlides>
  <MMClips>0</MMClips>
  <ScaleCrop>false</ScaleCrop>
  <HeadingPairs>
    <vt:vector size="8" baseType="variant">
      <vt:variant>
        <vt:lpstr>已用的字体</vt:lpstr>
      </vt:variant>
      <vt:variant>
        <vt:i4>20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2</vt:i4>
      </vt:variant>
      <vt:variant>
        <vt:lpstr>幻灯片标题</vt:lpstr>
      </vt:variant>
      <vt:variant>
        <vt:i4>14</vt:i4>
      </vt:variant>
    </vt:vector>
  </HeadingPairs>
  <TitlesOfParts>
    <vt:vector size="37" baseType="lpstr">
      <vt:lpstr>Arial</vt:lpstr>
      <vt:lpstr>方正书宋_GBK</vt:lpstr>
      <vt:lpstr>Wingdings</vt:lpstr>
      <vt:lpstr>微软雅黑</vt:lpstr>
      <vt:lpstr>宋体</vt:lpstr>
      <vt:lpstr>Arial Black</vt:lpstr>
      <vt:lpstr>黑体</vt:lpstr>
      <vt:lpstr>Impact</vt:lpstr>
      <vt:lpstr>Arial</vt:lpstr>
      <vt:lpstr>微软雅黑</vt:lpstr>
      <vt:lpstr>汉仪旗黑KW</vt:lpstr>
      <vt:lpstr>汉仪书宋二KW</vt:lpstr>
      <vt:lpstr>宋体</vt:lpstr>
      <vt:lpstr>Arial Unicode MS</vt:lpstr>
      <vt:lpstr>汉仪中黑KW</vt:lpstr>
      <vt:lpstr>Calibri</vt:lpstr>
      <vt:lpstr>Helvetica Neue</vt:lpstr>
      <vt:lpstr>微软雅黑</vt:lpstr>
      <vt:lpstr>Wingdings</vt:lpstr>
      <vt:lpstr>宋体-简</vt:lpstr>
      <vt:lpstr>主题5</vt:lpstr>
      <vt:lpstr>TCLayout.ActiveDocument.1</vt:lpstr>
      <vt:lpstr>TCLayout.ActiveDocument.1</vt:lpstr>
      <vt:lpstr>PowerPoint 演示文稿</vt:lpstr>
      <vt:lpstr>Use "Title Only" Layout</vt:lpstr>
      <vt:lpstr>Section Header Here</vt:lpstr>
      <vt:lpstr>系统用途</vt:lpstr>
      <vt:lpstr>数仓的任务运行模式</vt:lpstr>
      <vt:lpstr>系统用途</vt:lpstr>
      <vt:lpstr>调度系统功能</vt:lpstr>
      <vt:lpstr>调度功能说明</vt:lpstr>
      <vt:lpstr>调度系统功能</vt:lpstr>
      <vt:lpstr>调度系统设计</vt:lpstr>
      <vt:lpstr>调度系统设计</vt:lpstr>
      <vt:lpstr>调度代码讲解</vt:lpstr>
      <vt:lpstr>调度代码讲解</vt:lpstr>
      <vt:lpstr>Thanks And Your Slogan Here</vt:lpstr>
    </vt:vector>
  </TitlesOfParts>
  <Company>iSlide</Company>
  <LinksUpToDate>false</LinksUpToDate>
  <SharedDoc>false</SharedDoc>
  <HyperlinksChanged>false</HyperlinksChanged>
  <AppVersion>14.0000</AppVersion>
  <Manager>iSlide</Manager>
  <HyperlinkBase>https://www.islide.cc</HyperlinkBase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iSlide</dc:creator>
  <cp:lastModifiedBy>lixinguang</cp:lastModifiedBy>
  <cp:revision>7</cp:revision>
  <cp:lastPrinted>2019-09-27T08:58:38Z</cp:lastPrinted>
  <dcterms:created xsi:type="dcterms:W3CDTF">2019-09-27T08:58:38Z</dcterms:created>
  <dcterms:modified xsi:type="dcterms:W3CDTF">2019-09-27T08:58:3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  <property fmtid="{D5CDD505-2E9C-101B-9397-08002B2CF9AE}" pid="3" name="KSOProductBuildVer">
    <vt:lpwstr>2052-1.1.0.1454</vt:lpwstr>
  </property>
</Properties>
</file>